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6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7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8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9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10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11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2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13.xml" ContentType="application/vnd.openxmlformats-officedocument.presentationml.notesSl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notesSlides/notesSlide14.xml" ContentType="application/vnd.openxmlformats-officedocument.presentationml.notesSl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notesSlides/notesSlide15.xml" ContentType="application/vnd.openxmlformats-officedocument.presentationml.notesSlid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notesSlides/notesSlide16.xml" ContentType="application/vnd.openxmlformats-officedocument.presentationml.notesSlid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notesSlides/notesSlide17.xml" ContentType="application/vnd.openxmlformats-officedocument.presentationml.notesSlid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notesSlides/notesSlide18.xml" ContentType="application/vnd.openxmlformats-officedocument.presentationml.notesSlid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19.xml" ContentType="application/vnd.openxmlformats-officedocument.presentationml.notesSlide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notesSlides/notesSlide20.xml" ContentType="application/vnd.openxmlformats-officedocument.presentationml.notesSlid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314" r:id="rId2"/>
    <p:sldId id="1089" r:id="rId3"/>
    <p:sldId id="257" r:id="rId4"/>
    <p:sldId id="258" r:id="rId5"/>
    <p:sldId id="268" r:id="rId6"/>
    <p:sldId id="264" r:id="rId7"/>
    <p:sldId id="265" r:id="rId8"/>
    <p:sldId id="269" r:id="rId9"/>
    <p:sldId id="288" r:id="rId10"/>
    <p:sldId id="271" r:id="rId11"/>
    <p:sldId id="290" r:id="rId12"/>
    <p:sldId id="291" r:id="rId13"/>
    <p:sldId id="261" r:id="rId14"/>
    <p:sldId id="275" r:id="rId15"/>
    <p:sldId id="285" r:id="rId16"/>
    <p:sldId id="292" r:id="rId17"/>
    <p:sldId id="260" r:id="rId18"/>
    <p:sldId id="283" r:id="rId19"/>
    <p:sldId id="286" r:id="rId20"/>
    <p:sldId id="277" r:id="rId21"/>
    <p:sldId id="278" r:id="rId22"/>
    <p:sldId id="280" r:id="rId23"/>
    <p:sldId id="279" r:id="rId24"/>
    <p:sldId id="287" r:id="rId25"/>
    <p:sldId id="293" r:id="rId26"/>
    <p:sldId id="1093" r:id="rId27"/>
    <p:sldId id="1090" r:id="rId28"/>
    <p:sldId id="1091" r:id="rId29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leil Marcela Omana Pinzon" initials="SMOP" lastIdx="4" clrIdx="0">
    <p:extLst>
      <p:ext uri="{19B8F6BF-5375-455C-9EA6-DF929625EA0E}">
        <p15:presenceInfo xmlns:p15="http://schemas.microsoft.com/office/powerpoint/2012/main" userId="S::somana@tgi.com.co::fcc31230-daed-456b-836a-38f3074b024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ACAB2D-B17A-4E27-877E-CDC3D8D0CF7B}" v="4" dt="2022-01-05T13:18:27.3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3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35C82B-6F3A-46B2-B7C7-B35203C18848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DCB49F-2CE8-401E-8DE6-BB9693F724A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42272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680867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5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630554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6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735619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8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582694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9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612839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0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002544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1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349256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2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002919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3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068483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4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6515412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5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09750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3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068639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7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185126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28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8953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6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962314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7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399596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9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1997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0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13455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1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32663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2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374340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2514EB-F5F2-4B86-AE40-F285641446C3}" type="slidenum">
              <a:rPr lang="es-CO" smtClean="0"/>
              <a:t>14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67812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34D573-A0B1-423B-97B4-6A44C6C69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2B2B93B-B5E7-4388-B422-ED11DE0279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807FFD1-5D1D-4BE6-88AC-2B2C78617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D07435A-7361-4597-BABE-169BE4E21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2DB49FC-8DB4-4EAE-9E9A-7EDFE7EAA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45801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5706D0-7A2B-4B4E-A412-07C31540A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0C5A91C-B336-4973-83B4-B14CAE37DC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BFBA590-9280-4A77-AB91-B1C6E7994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394399-48E7-41C1-B311-831EE4D22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9B0192A-F310-4BB4-9E57-361DDD849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438362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A78D697-FE95-4399-BC8B-4722A5B6C9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A14DD29-6868-4D38-8DAA-D66AC42617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44AFC6C-35AA-4E06-96BF-9F5269DC4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8B75E1-17E6-420C-94AD-DA7375A256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FB4637A-024E-43AF-8861-869A5FB40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28486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3866" y="0"/>
            <a:ext cx="12515868" cy="70401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29207" y="3140970"/>
            <a:ext cx="6341032" cy="89916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4667" b="1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0" hasCustomPrompt="1"/>
          </p:nvPr>
        </p:nvSpPr>
        <p:spPr>
          <a:xfrm>
            <a:off x="429686" y="1391411"/>
            <a:ext cx="2305049" cy="15367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0666" b="1">
                <a:solidFill>
                  <a:srgbClr val="92D050"/>
                </a:solidFill>
              </a:defRPr>
            </a:lvl1pPr>
          </a:lstStyle>
          <a:p>
            <a:pPr lvl="0"/>
            <a:r>
              <a:rPr lang="es-ES_tradnl"/>
              <a:t>1.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6" t="58529" r="61025" b="11279"/>
          <a:stretch/>
        </p:blipFill>
        <p:spPr>
          <a:xfrm>
            <a:off x="-1" y="6069080"/>
            <a:ext cx="2002404" cy="819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770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7C6BD1-90FD-414F-876A-21E169721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47DE4E0-0BA1-48FE-9BD5-A168C3A7FB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DEFC2F4-808C-40B2-96AF-169B11E78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27F003C-F278-43E3-9C1D-4195317960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CCDAB3C-EA0D-4774-84EA-5338D777E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13699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1E77061-F9EE-4599-93D7-49DF7D910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628379C-6E3A-485D-A8A4-B9FA53EC25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39FFD88-F93C-4428-AEE3-17615DBF2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6EF0C7A-9B26-429D-B850-7E81E3A1F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8EDC455-4251-4328-8D36-0C0E842C5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68029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1B2E201-9E2C-42DE-ABD2-F2B3D7A37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C235C0F-530B-4864-AE91-BB9E8FA5D5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AFFAD62-D73E-485C-B737-A294C5FA1F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E1566BD-8127-4588-AA61-B1A8AA7320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AC9A9E8-DEB8-4EE3-B7F5-50869E326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0884D7B-81C1-4F49-ACA9-593C739BD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98275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801AD5-D5EC-43BD-A4AC-E8805AEF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2B93E8C-FF81-4F52-9FB5-131A5EE3AD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519246E-2DD5-4B22-A12C-AE8B2C141A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6A76E7-3A42-4C0A-A878-C97E3AFFF2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0E6AE52C-DA29-4155-B1D8-88382EE81D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9A178A0-5167-44B6-93ED-4DC6A3F70C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FF8F6DA-2073-4500-B995-BAC911807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9B112DE-7EBE-4178-B658-9C299848E9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44843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211420-7498-414C-8517-CC15A8893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2F001B5-94C3-4260-A21F-6EDD2E037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950D383-7592-48C7-B816-5349E23FB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5B6D12C-0277-49DD-B89C-DD51ACBAA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74611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660A73BE-72A4-41AB-AAAF-6E7A581D3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8C90370-0AB1-4573-8E4E-1002F7430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11D3127-420A-42D7-8748-DE79D1ACA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494256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E5B6C1-4464-4BD1-B362-A345D3EA2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79BB6A5-48EC-434F-B76D-45948CE318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20C112A9-1A54-4CFD-8639-0274BE3591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A9A0915-E09E-466E-BC84-2382E8EE7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E7BEE6B-D898-4F2C-8C9B-907E64AE2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2A31855-0C9C-4E86-B55E-12C8C3507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191933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3B268E-23A3-4DE8-B3F8-E65227A0B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C8746D79-4907-407E-9AE2-B933CE6FAB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5EBFEA3-6E17-4ADC-BFB2-7688EFD5B2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65684FB-5711-4849-B710-416A19FA8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FB85E61-1794-4C9D-AEFE-F8A1F47AE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A47D258-79F4-4330-95C4-355332F21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87108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D3E59C84-34BA-4EF1-B95C-4ED4863EB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9665BE0-01EC-4111-B568-E4218A116B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5B6D883-EA31-405D-880B-B7463B7D1E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9DCF8-838B-4158-8BB7-C6F4D1753E46}" type="datetimeFigureOut">
              <a:rPr lang="es-CO" smtClean="0"/>
              <a:t>29/03/2022</a:t>
            </a:fld>
            <a:endParaRPr lang="es-CO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BCC8687-C59B-4282-B82C-FA5502016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15E2607-7918-40D8-9110-2EFF3C0226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4DD02E-5D79-4693-846D-C6AE8F19F2BD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194768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notesSlide" Target="../notesSlides/notesSlide6.xml"/><Relationship Id="rId3" Type="http://schemas.openxmlformats.org/officeDocument/2006/relationships/tags" Target="../tags/tag75.xml"/><Relationship Id="rId21" Type="http://schemas.openxmlformats.org/officeDocument/2006/relationships/tags" Target="../tags/tag93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26" Type="http://schemas.openxmlformats.org/officeDocument/2006/relationships/notesSlide" Target="../notesSlides/notesSlide7.xml"/><Relationship Id="rId3" Type="http://schemas.openxmlformats.org/officeDocument/2006/relationships/tags" Target="../tags/tag99.xml"/><Relationship Id="rId21" Type="http://schemas.openxmlformats.org/officeDocument/2006/relationships/tags" Target="../tags/tag117.xml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tags" Target="../tags/tag116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tags" Target="../tags/tag120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23" Type="http://schemas.openxmlformats.org/officeDocument/2006/relationships/tags" Target="../tags/tag119.xml"/><Relationship Id="rId10" Type="http://schemas.openxmlformats.org/officeDocument/2006/relationships/tags" Target="../tags/tag106.xml"/><Relationship Id="rId19" Type="http://schemas.openxmlformats.org/officeDocument/2006/relationships/tags" Target="../tags/tag115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tags" Target="../tags/tag118.xml"/><Relationship Id="rId27" Type="http://schemas.openxmlformats.org/officeDocument/2006/relationships/image" Target="../media/image4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26" Type="http://schemas.openxmlformats.org/officeDocument/2006/relationships/notesSlide" Target="../notesSlides/notesSlide8.xml"/><Relationship Id="rId3" Type="http://schemas.openxmlformats.org/officeDocument/2006/relationships/tags" Target="../tags/tag123.xml"/><Relationship Id="rId21" Type="http://schemas.openxmlformats.org/officeDocument/2006/relationships/tags" Target="../tags/tag141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tags" Target="../tags/tag140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24" Type="http://schemas.openxmlformats.org/officeDocument/2006/relationships/tags" Target="../tags/tag144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23" Type="http://schemas.openxmlformats.org/officeDocument/2006/relationships/tags" Target="../tags/tag143.xml"/><Relationship Id="rId10" Type="http://schemas.openxmlformats.org/officeDocument/2006/relationships/tags" Target="../tags/tag130.xml"/><Relationship Id="rId19" Type="http://schemas.openxmlformats.org/officeDocument/2006/relationships/tags" Target="../tags/tag139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Relationship Id="rId22" Type="http://schemas.openxmlformats.org/officeDocument/2006/relationships/tags" Target="../tags/tag142.xml"/><Relationship Id="rId27" Type="http://schemas.openxmlformats.org/officeDocument/2006/relationships/image" Target="../media/image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emf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tags" Target="../tags/tag157.xml"/><Relationship Id="rId18" Type="http://schemas.openxmlformats.org/officeDocument/2006/relationships/tags" Target="../tags/tag162.xml"/><Relationship Id="rId26" Type="http://schemas.openxmlformats.org/officeDocument/2006/relationships/notesSlide" Target="../notesSlides/notesSlide9.xml"/><Relationship Id="rId3" Type="http://schemas.openxmlformats.org/officeDocument/2006/relationships/tags" Target="../tags/tag147.xml"/><Relationship Id="rId21" Type="http://schemas.openxmlformats.org/officeDocument/2006/relationships/tags" Target="../tags/tag165.xml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17" Type="http://schemas.openxmlformats.org/officeDocument/2006/relationships/tags" Target="../tags/tag161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46.xml"/><Relationship Id="rId16" Type="http://schemas.openxmlformats.org/officeDocument/2006/relationships/tags" Target="../tags/tag160.xml"/><Relationship Id="rId20" Type="http://schemas.openxmlformats.org/officeDocument/2006/relationships/tags" Target="../tags/tag164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24" Type="http://schemas.openxmlformats.org/officeDocument/2006/relationships/tags" Target="../tags/tag168.xml"/><Relationship Id="rId5" Type="http://schemas.openxmlformats.org/officeDocument/2006/relationships/tags" Target="../tags/tag149.xml"/><Relationship Id="rId15" Type="http://schemas.openxmlformats.org/officeDocument/2006/relationships/tags" Target="../tags/tag159.xml"/><Relationship Id="rId23" Type="http://schemas.openxmlformats.org/officeDocument/2006/relationships/tags" Target="../tags/tag167.xml"/><Relationship Id="rId10" Type="http://schemas.openxmlformats.org/officeDocument/2006/relationships/tags" Target="../tags/tag154.xml"/><Relationship Id="rId19" Type="http://schemas.openxmlformats.org/officeDocument/2006/relationships/tags" Target="../tags/tag163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tags" Target="../tags/tag158.xml"/><Relationship Id="rId22" Type="http://schemas.openxmlformats.org/officeDocument/2006/relationships/tags" Target="../tags/tag166.xml"/><Relationship Id="rId27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26" Type="http://schemas.openxmlformats.org/officeDocument/2006/relationships/notesSlide" Target="../notesSlides/notesSlide10.xml"/><Relationship Id="rId3" Type="http://schemas.openxmlformats.org/officeDocument/2006/relationships/tags" Target="../tags/tag171.xml"/><Relationship Id="rId21" Type="http://schemas.openxmlformats.org/officeDocument/2006/relationships/tags" Target="../tags/tag189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70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24" Type="http://schemas.openxmlformats.org/officeDocument/2006/relationships/tags" Target="../tags/tag192.xml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23" Type="http://schemas.openxmlformats.org/officeDocument/2006/relationships/tags" Target="../tags/tag191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tags" Target="../tags/tag190.xml"/><Relationship Id="rId27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18" Type="http://schemas.openxmlformats.org/officeDocument/2006/relationships/tags" Target="../tags/tag210.xml"/><Relationship Id="rId26" Type="http://schemas.openxmlformats.org/officeDocument/2006/relationships/notesSlide" Target="../notesSlides/notesSlide11.xml"/><Relationship Id="rId3" Type="http://schemas.openxmlformats.org/officeDocument/2006/relationships/tags" Target="../tags/tag195.xml"/><Relationship Id="rId21" Type="http://schemas.openxmlformats.org/officeDocument/2006/relationships/tags" Target="../tags/tag213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17" Type="http://schemas.openxmlformats.org/officeDocument/2006/relationships/tags" Target="../tags/tag209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94.xml"/><Relationship Id="rId16" Type="http://schemas.openxmlformats.org/officeDocument/2006/relationships/tags" Target="../tags/tag208.xml"/><Relationship Id="rId20" Type="http://schemas.openxmlformats.org/officeDocument/2006/relationships/tags" Target="../tags/tag212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24" Type="http://schemas.openxmlformats.org/officeDocument/2006/relationships/tags" Target="../tags/tag216.xml"/><Relationship Id="rId5" Type="http://schemas.openxmlformats.org/officeDocument/2006/relationships/tags" Target="../tags/tag197.xml"/><Relationship Id="rId15" Type="http://schemas.openxmlformats.org/officeDocument/2006/relationships/tags" Target="../tags/tag207.xml"/><Relationship Id="rId23" Type="http://schemas.openxmlformats.org/officeDocument/2006/relationships/tags" Target="../tags/tag215.xml"/><Relationship Id="rId10" Type="http://schemas.openxmlformats.org/officeDocument/2006/relationships/tags" Target="../tags/tag202.xml"/><Relationship Id="rId19" Type="http://schemas.openxmlformats.org/officeDocument/2006/relationships/tags" Target="../tags/tag211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tags" Target="../tags/tag206.xml"/><Relationship Id="rId22" Type="http://schemas.openxmlformats.org/officeDocument/2006/relationships/tags" Target="../tags/tag214.xml"/><Relationship Id="rId27" Type="http://schemas.openxmlformats.org/officeDocument/2006/relationships/image" Target="../media/image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13" Type="http://schemas.openxmlformats.org/officeDocument/2006/relationships/tags" Target="../tags/tag229.xml"/><Relationship Id="rId18" Type="http://schemas.openxmlformats.org/officeDocument/2006/relationships/tags" Target="../tags/tag234.xml"/><Relationship Id="rId26" Type="http://schemas.openxmlformats.org/officeDocument/2006/relationships/notesSlide" Target="../notesSlides/notesSlide12.xml"/><Relationship Id="rId3" Type="http://schemas.openxmlformats.org/officeDocument/2006/relationships/tags" Target="../tags/tag219.xml"/><Relationship Id="rId21" Type="http://schemas.openxmlformats.org/officeDocument/2006/relationships/tags" Target="../tags/tag237.xml"/><Relationship Id="rId7" Type="http://schemas.openxmlformats.org/officeDocument/2006/relationships/tags" Target="../tags/tag223.xml"/><Relationship Id="rId12" Type="http://schemas.openxmlformats.org/officeDocument/2006/relationships/tags" Target="../tags/tag228.xml"/><Relationship Id="rId17" Type="http://schemas.openxmlformats.org/officeDocument/2006/relationships/tags" Target="../tags/tag233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18.xml"/><Relationship Id="rId16" Type="http://schemas.openxmlformats.org/officeDocument/2006/relationships/tags" Target="../tags/tag232.xml"/><Relationship Id="rId20" Type="http://schemas.openxmlformats.org/officeDocument/2006/relationships/tags" Target="../tags/tag236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tags" Target="../tags/tag227.xml"/><Relationship Id="rId24" Type="http://schemas.openxmlformats.org/officeDocument/2006/relationships/tags" Target="../tags/tag240.xml"/><Relationship Id="rId5" Type="http://schemas.openxmlformats.org/officeDocument/2006/relationships/tags" Target="../tags/tag221.xml"/><Relationship Id="rId15" Type="http://schemas.openxmlformats.org/officeDocument/2006/relationships/tags" Target="../tags/tag231.xml"/><Relationship Id="rId23" Type="http://schemas.openxmlformats.org/officeDocument/2006/relationships/tags" Target="../tags/tag239.xml"/><Relationship Id="rId10" Type="http://schemas.openxmlformats.org/officeDocument/2006/relationships/tags" Target="../tags/tag226.xml"/><Relationship Id="rId19" Type="http://schemas.openxmlformats.org/officeDocument/2006/relationships/tags" Target="../tags/tag235.xml"/><Relationship Id="rId4" Type="http://schemas.openxmlformats.org/officeDocument/2006/relationships/tags" Target="../tags/tag220.xml"/><Relationship Id="rId9" Type="http://schemas.openxmlformats.org/officeDocument/2006/relationships/tags" Target="../tags/tag225.xml"/><Relationship Id="rId14" Type="http://schemas.openxmlformats.org/officeDocument/2006/relationships/tags" Target="../tags/tag230.xml"/><Relationship Id="rId22" Type="http://schemas.openxmlformats.org/officeDocument/2006/relationships/tags" Target="../tags/tag238.xml"/><Relationship Id="rId27" Type="http://schemas.openxmlformats.org/officeDocument/2006/relationships/image" Target="../media/image4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13" Type="http://schemas.openxmlformats.org/officeDocument/2006/relationships/tags" Target="../tags/tag253.xml"/><Relationship Id="rId18" Type="http://schemas.openxmlformats.org/officeDocument/2006/relationships/tags" Target="../tags/tag258.xml"/><Relationship Id="rId26" Type="http://schemas.openxmlformats.org/officeDocument/2006/relationships/notesSlide" Target="../notesSlides/notesSlide13.xml"/><Relationship Id="rId3" Type="http://schemas.openxmlformats.org/officeDocument/2006/relationships/tags" Target="../tags/tag243.xml"/><Relationship Id="rId21" Type="http://schemas.openxmlformats.org/officeDocument/2006/relationships/tags" Target="../tags/tag261.xml"/><Relationship Id="rId7" Type="http://schemas.openxmlformats.org/officeDocument/2006/relationships/tags" Target="../tags/tag247.xml"/><Relationship Id="rId12" Type="http://schemas.openxmlformats.org/officeDocument/2006/relationships/tags" Target="../tags/tag252.xml"/><Relationship Id="rId17" Type="http://schemas.openxmlformats.org/officeDocument/2006/relationships/tags" Target="../tags/tag25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42.xml"/><Relationship Id="rId16" Type="http://schemas.openxmlformats.org/officeDocument/2006/relationships/tags" Target="../tags/tag256.xml"/><Relationship Id="rId20" Type="http://schemas.openxmlformats.org/officeDocument/2006/relationships/tags" Target="../tags/tag260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tags" Target="../tags/tag251.xml"/><Relationship Id="rId24" Type="http://schemas.openxmlformats.org/officeDocument/2006/relationships/tags" Target="../tags/tag264.xml"/><Relationship Id="rId5" Type="http://schemas.openxmlformats.org/officeDocument/2006/relationships/tags" Target="../tags/tag245.xml"/><Relationship Id="rId15" Type="http://schemas.openxmlformats.org/officeDocument/2006/relationships/tags" Target="../tags/tag255.xml"/><Relationship Id="rId23" Type="http://schemas.openxmlformats.org/officeDocument/2006/relationships/tags" Target="../tags/tag263.xml"/><Relationship Id="rId10" Type="http://schemas.openxmlformats.org/officeDocument/2006/relationships/tags" Target="../tags/tag250.xml"/><Relationship Id="rId19" Type="http://schemas.openxmlformats.org/officeDocument/2006/relationships/tags" Target="../tags/tag259.xml"/><Relationship Id="rId4" Type="http://schemas.openxmlformats.org/officeDocument/2006/relationships/tags" Target="../tags/tag244.xml"/><Relationship Id="rId9" Type="http://schemas.openxmlformats.org/officeDocument/2006/relationships/tags" Target="../tags/tag249.xml"/><Relationship Id="rId14" Type="http://schemas.openxmlformats.org/officeDocument/2006/relationships/tags" Target="../tags/tag254.xml"/><Relationship Id="rId22" Type="http://schemas.openxmlformats.org/officeDocument/2006/relationships/tags" Target="../tags/tag262.xml"/><Relationship Id="rId27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tif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18" Type="http://schemas.openxmlformats.org/officeDocument/2006/relationships/tags" Target="../tags/tag282.xml"/><Relationship Id="rId26" Type="http://schemas.openxmlformats.org/officeDocument/2006/relationships/notesSlide" Target="../notesSlides/notesSlide14.xml"/><Relationship Id="rId3" Type="http://schemas.openxmlformats.org/officeDocument/2006/relationships/tags" Target="../tags/tag267.xml"/><Relationship Id="rId21" Type="http://schemas.openxmlformats.org/officeDocument/2006/relationships/tags" Target="../tags/tag285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tags" Target="../tags/tag281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66.xml"/><Relationship Id="rId16" Type="http://schemas.openxmlformats.org/officeDocument/2006/relationships/tags" Target="../tags/tag280.xml"/><Relationship Id="rId20" Type="http://schemas.openxmlformats.org/officeDocument/2006/relationships/tags" Target="../tags/tag284.xml"/><Relationship Id="rId1" Type="http://schemas.openxmlformats.org/officeDocument/2006/relationships/tags" Target="../tags/tag265.x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24" Type="http://schemas.openxmlformats.org/officeDocument/2006/relationships/tags" Target="../tags/tag288.xml"/><Relationship Id="rId5" Type="http://schemas.openxmlformats.org/officeDocument/2006/relationships/tags" Target="../tags/tag269.xml"/><Relationship Id="rId15" Type="http://schemas.openxmlformats.org/officeDocument/2006/relationships/tags" Target="../tags/tag279.xml"/><Relationship Id="rId23" Type="http://schemas.openxmlformats.org/officeDocument/2006/relationships/tags" Target="../tags/tag287.xml"/><Relationship Id="rId10" Type="http://schemas.openxmlformats.org/officeDocument/2006/relationships/tags" Target="../tags/tag274.xml"/><Relationship Id="rId19" Type="http://schemas.openxmlformats.org/officeDocument/2006/relationships/tags" Target="../tags/tag283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Relationship Id="rId22" Type="http://schemas.openxmlformats.org/officeDocument/2006/relationships/tags" Target="../tags/tag286.xml"/><Relationship Id="rId27" Type="http://schemas.openxmlformats.org/officeDocument/2006/relationships/image" Target="../media/image4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26" Type="http://schemas.openxmlformats.org/officeDocument/2006/relationships/notesSlide" Target="../notesSlides/notesSlide15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tags" Target="../tags/tag312.xml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tags" Target="../tags/tag311.xml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tags" Target="../tags/tag310.xml"/><Relationship Id="rId27" Type="http://schemas.openxmlformats.org/officeDocument/2006/relationships/image" Target="../media/image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13" Type="http://schemas.openxmlformats.org/officeDocument/2006/relationships/tags" Target="../tags/tag325.xml"/><Relationship Id="rId18" Type="http://schemas.openxmlformats.org/officeDocument/2006/relationships/tags" Target="../tags/tag330.xml"/><Relationship Id="rId26" Type="http://schemas.openxmlformats.org/officeDocument/2006/relationships/notesSlide" Target="../notesSlides/notesSlide16.xml"/><Relationship Id="rId3" Type="http://schemas.openxmlformats.org/officeDocument/2006/relationships/tags" Target="../tags/tag315.xml"/><Relationship Id="rId21" Type="http://schemas.openxmlformats.org/officeDocument/2006/relationships/tags" Target="../tags/tag333.xml"/><Relationship Id="rId7" Type="http://schemas.openxmlformats.org/officeDocument/2006/relationships/tags" Target="../tags/tag319.xml"/><Relationship Id="rId12" Type="http://schemas.openxmlformats.org/officeDocument/2006/relationships/tags" Target="../tags/tag324.xml"/><Relationship Id="rId17" Type="http://schemas.openxmlformats.org/officeDocument/2006/relationships/tags" Target="../tags/tag329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14.xml"/><Relationship Id="rId16" Type="http://schemas.openxmlformats.org/officeDocument/2006/relationships/tags" Target="../tags/tag328.xml"/><Relationship Id="rId20" Type="http://schemas.openxmlformats.org/officeDocument/2006/relationships/tags" Target="../tags/tag332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tags" Target="../tags/tag323.xml"/><Relationship Id="rId24" Type="http://schemas.openxmlformats.org/officeDocument/2006/relationships/tags" Target="../tags/tag336.xml"/><Relationship Id="rId5" Type="http://schemas.openxmlformats.org/officeDocument/2006/relationships/tags" Target="../tags/tag317.xml"/><Relationship Id="rId15" Type="http://schemas.openxmlformats.org/officeDocument/2006/relationships/tags" Target="../tags/tag327.xml"/><Relationship Id="rId23" Type="http://schemas.openxmlformats.org/officeDocument/2006/relationships/tags" Target="../tags/tag335.xml"/><Relationship Id="rId10" Type="http://schemas.openxmlformats.org/officeDocument/2006/relationships/tags" Target="../tags/tag322.xml"/><Relationship Id="rId19" Type="http://schemas.openxmlformats.org/officeDocument/2006/relationships/tags" Target="../tags/tag331.xml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4" Type="http://schemas.openxmlformats.org/officeDocument/2006/relationships/tags" Target="../tags/tag326.xml"/><Relationship Id="rId22" Type="http://schemas.openxmlformats.org/officeDocument/2006/relationships/tags" Target="../tags/tag334.xml"/><Relationship Id="rId27" Type="http://schemas.openxmlformats.org/officeDocument/2006/relationships/image" Target="../media/image4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tags" Target="../tags/tag349.xml"/><Relationship Id="rId18" Type="http://schemas.openxmlformats.org/officeDocument/2006/relationships/tags" Target="../tags/tag354.xml"/><Relationship Id="rId26" Type="http://schemas.openxmlformats.org/officeDocument/2006/relationships/notesSlide" Target="../notesSlides/notesSlide17.xml"/><Relationship Id="rId3" Type="http://schemas.openxmlformats.org/officeDocument/2006/relationships/tags" Target="../tags/tag339.xml"/><Relationship Id="rId21" Type="http://schemas.openxmlformats.org/officeDocument/2006/relationships/tags" Target="../tags/tag357.xml"/><Relationship Id="rId7" Type="http://schemas.openxmlformats.org/officeDocument/2006/relationships/tags" Target="../tags/tag343.xml"/><Relationship Id="rId12" Type="http://schemas.openxmlformats.org/officeDocument/2006/relationships/tags" Target="../tags/tag348.xml"/><Relationship Id="rId17" Type="http://schemas.openxmlformats.org/officeDocument/2006/relationships/tags" Target="../tags/tag353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38.xml"/><Relationship Id="rId16" Type="http://schemas.openxmlformats.org/officeDocument/2006/relationships/tags" Target="../tags/tag352.xml"/><Relationship Id="rId20" Type="http://schemas.openxmlformats.org/officeDocument/2006/relationships/tags" Target="../tags/tag356.xml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11" Type="http://schemas.openxmlformats.org/officeDocument/2006/relationships/tags" Target="../tags/tag347.xml"/><Relationship Id="rId24" Type="http://schemas.openxmlformats.org/officeDocument/2006/relationships/tags" Target="../tags/tag360.xml"/><Relationship Id="rId5" Type="http://schemas.openxmlformats.org/officeDocument/2006/relationships/tags" Target="../tags/tag341.xml"/><Relationship Id="rId15" Type="http://schemas.openxmlformats.org/officeDocument/2006/relationships/tags" Target="../tags/tag351.xml"/><Relationship Id="rId23" Type="http://schemas.openxmlformats.org/officeDocument/2006/relationships/tags" Target="../tags/tag359.xml"/><Relationship Id="rId10" Type="http://schemas.openxmlformats.org/officeDocument/2006/relationships/tags" Target="../tags/tag346.xml"/><Relationship Id="rId19" Type="http://schemas.openxmlformats.org/officeDocument/2006/relationships/tags" Target="../tags/tag355.xml"/><Relationship Id="rId4" Type="http://schemas.openxmlformats.org/officeDocument/2006/relationships/tags" Target="../tags/tag340.xml"/><Relationship Id="rId9" Type="http://schemas.openxmlformats.org/officeDocument/2006/relationships/tags" Target="../tags/tag345.xml"/><Relationship Id="rId14" Type="http://schemas.openxmlformats.org/officeDocument/2006/relationships/tags" Target="../tags/tag350.xml"/><Relationship Id="rId22" Type="http://schemas.openxmlformats.org/officeDocument/2006/relationships/tags" Target="../tags/tag358.xml"/><Relationship Id="rId27" Type="http://schemas.openxmlformats.org/officeDocument/2006/relationships/image" Target="../media/image4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368.x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notesSlide" Target="../notesSlides/notesSlide18.xml"/><Relationship Id="rId3" Type="http://schemas.openxmlformats.org/officeDocument/2006/relationships/tags" Target="../tags/tag363.xml"/><Relationship Id="rId21" Type="http://schemas.openxmlformats.org/officeDocument/2006/relationships/tags" Target="../tags/tag381.xml"/><Relationship Id="rId7" Type="http://schemas.openxmlformats.org/officeDocument/2006/relationships/tags" Target="../tags/tag367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62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tags" Target="../tags/tag365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tags" Target="../tags/tag364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tags" Target="../tags/tag397.xml"/><Relationship Id="rId18" Type="http://schemas.openxmlformats.org/officeDocument/2006/relationships/tags" Target="../tags/tag402.xml"/><Relationship Id="rId26" Type="http://schemas.openxmlformats.org/officeDocument/2006/relationships/notesSlide" Target="../notesSlides/notesSlide19.xml"/><Relationship Id="rId3" Type="http://schemas.openxmlformats.org/officeDocument/2006/relationships/tags" Target="../tags/tag387.xml"/><Relationship Id="rId21" Type="http://schemas.openxmlformats.org/officeDocument/2006/relationships/tags" Target="../tags/tag405.xml"/><Relationship Id="rId7" Type="http://schemas.openxmlformats.org/officeDocument/2006/relationships/tags" Target="../tags/tag391.xml"/><Relationship Id="rId12" Type="http://schemas.openxmlformats.org/officeDocument/2006/relationships/tags" Target="../tags/tag396.xml"/><Relationship Id="rId17" Type="http://schemas.openxmlformats.org/officeDocument/2006/relationships/tags" Target="../tags/tag401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86.xml"/><Relationship Id="rId16" Type="http://schemas.openxmlformats.org/officeDocument/2006/relationships/tags" Target="../tags/tag400.xml"/><Relationship Id="rId20" Type="http://schemas.openxmlformats.org/officeDocument/2006/relationships/tags" Target="../tags/tag404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tags" Target="../tags/tag395.xml"/><Relationship Id="rId24" Type="http://schemas.openxmlformats.org/officeDocument/2006/relationships/tags" Target="../tags/tag408.xml"/><Relationship Id="rId5" Type="http://schemas.openxmlformats.org/officeDocument/2006/relationships/tags" Target="../tags/tag389.xml"/><Relationship Id="rId15" Type="http://schemas.openxmlformats.org/officeDocument/2006/relationships/tags" Target="../tags/tag399.xml"/><Relationship Id="rId23" Type="http://schemas.openxmlformats.org/officeDocument/2006/relationships/tags" Target="../tags/tag407.xml"/><Relationship Id="rId10" Type="http://schemas.openxmlformats.org/officeDocument/2006/relationships/tags" Target="../tags/tag394.xml"/><Relationship Id="rId19" Type="http://schemas.openxmlformats.org/officeDocument/2006/relationships/tags" Target="../tags/tag403.xml"/><Relationship Id="rId4" Type="http://schemas.openxmlformats.org/officeDocument/2006/relationships/tags" Target="../tags/tag388.xml"/><Relationship Id="rId9" Type="http://schemas.openxmlformats.org/officeDocument/2006/relationships/tags" Target="../tags/tag393.xml"/><Relationship Id="rId14" Type="http://schemas.openxmlformats.org/officeDocument/2006/relationships/tags" Target="../tags/tag398.xml"/><Relationship Id="rId22" Type="http://schemas.openxmlformats.org/officeDocument/2006/relationships/tags" Target="../tags/tag406.xml"/><Relationship Id="rId27" Type="http://schemas.openxmlformats.org/officeDocument/2006/relationships/image" Target="../media/image4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tags" Target="../tags/tag421.xml"/><Relationship Id="rId18" Type="http://schemas.openxmlformats.org/officeDocument/2006/relationships/tags" Target="../tags/tag426.xml"/><Relationship Id="rId26" Type="http://schemas.openxmlformats.org/officeDocument/2006/relationships/notesSlide" Target="../notesSlides/notesSlide20.xml"/><Relationship Id="rId3" Type="http://schemas.openxmlformats.org/officeDocument/2006/relationships/tags" Target="../tags/tag411.xml"/><Relationship Id="rId21" Type="http://schemas.openxmlformats.org/officeDocument/2006/relationships/tags" Target="../tags/tag429.xml"/><Relationship Id="rId7" Type="http://schemas.openxmlformats.org/officeDocument/2006/relationships/tags" Target="../tags/tag415.xml"/><Relationship Id="rId12" Type="http://schemas.openxmlformats.org/officeDocument/2006/relationships/tags" Target="../tags/tag420.xml"/><Relationship Id="rId17" Type="http://schemas.openxmlformats.org/officeDocument/2006/relationships/tags" Target="../tags/tag425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410.xml"/><Relationship Id="rId16" Type="http://schemas.openxmlformats.org/officeDocument/2006/relationships/tags" Target="../tags/tag424.xml"/><Relationship Id="rId20" Type="http://schemas.openxmlformats.org/officeDocument/2006/relationships/tags" Target="../tags/tag428.xml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tags" Target="../tags/tag419.xml"/><Relationship Id="rId24" Type="http://schemas.openxmlformats.org/officeDocument/2006/relationships/tags" Target="../tags/tag432.xml"/><Relationship Id="rId5" Type="http://schemas.openxmlformats.org/officeDocument/2006/relationships/tags" Target="../tags/tag413.xml"/><Relationship Id="rId15" Type="http://schemas.openxmlformats.org/officeDocument/2006/relationships/tags" Target="../tags/tag423.xml"/><Relationship Id="rId23" Type="http://schemas.openxmlformats.org/officeDocument/2006/relationships/tags" Target="../tags/tag431.xml"/><Relationship Id="rId10" Type="http://schemas.openxmlformats.org/officeDocument/2006/relationships/tags" Target="../tags/tag418.xml"/><Relationship Id="rId19" Type="http://schemas.openxmlformats.org/officeDocument/2006/relationships/tags" Target="../tags/tag427.xml"/><Relationship Id="rId4" Type="http://schemas.openxmlformats.org/officeDocument/2006/relationships/tags" Target="../tags/tag412.xml"/><Relationship Id="rId9" Type="http://schemas.openxmlformats.org/officeDocument/2006/relationships/tags" Target="../tags/tag417.xml"/><Relationship Id="rId14" Type="http://schemas.openxmlformats.org/officeDocument/2006/relationships/tags" Target="../tags/tag422.xml"/><Relationship Id="rId22" Type="http://schemas.openxmlformats.org/officeDocument/2006/relationships/tags" Target="../tags/tag430.xml"/><Relationship Id="rId27" Type="http://schemas.openxmlformats.org/officeDocument/2006/relationships/image" Target="../media/image4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tags" Target="../tags/tag445.xml"/><Relationship Id="rId18" Type="http://schemas.openxmlformats.org/officeDocument/2006/relationships/tags" Target="../tags/tag450.xml"/><Relationship Id="rId26" Type="http://schemas.openxmlformats.org/officeDocument/2006/relationships/notesSlide" Target="../notesSlides/notesSlide21.xml"/><Relationship Id="rId3" Type="http://schemas.openxmlformats.org/officeDocument/2006/relationships/tags" Target="../tags/tag435.xml"/><Relationship Id="rId21" Type="http://schemas.openxmlformats.org/officeDocument/2006/relationships/tags" Target="../tags/tag453.xml"/><Relationship Id="rId7" Type="http://schemas.openxmlformats.org/officeDocument/2006/relationships/tags" Target="../tags/tag439.xml"/><Relationship Id="rId12" Type="http://schemas.openxmlformats.org/officeDocument/2006/relationships/tags" Target="../tags/tag444.xml"/><Relationship Id="rId17" Type="http://schemas.openxmlformats.org/officeDocument/2006/relationships/tags" Target="../tags/tag449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434.xml"/><Relationship Id="rId16" Type="http://schemas.openxmlformats.org/officeDocument/2006/relationships/tags" Target="../tags/tag448.xml"/><Relationship Id="rId20" Type="http://schemas.openxmlformats.org/officeDocument/2006/relationships/tags" Target="../tags/tag452.xml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11" Type="http://schemas.openxmlformats.org/officeDocument/2006/relationships/tags" Target="../tags/tag443.xml"/><Relationship Id="rId24" Type="http://schemas.openxmlformats.org/officeDocument/2006/relationships/tags" Target="../tags/tag456.xml"/><Relationship Id="rId5" Type="http://schemas.openxmlformats.org/officeDocument/2006/relationships/tags" Target="../tags/tag437.xml"/><Relationship Id="rId15" Type="http://schemas.openxmlformats.org/officeDocument/2006/relationships/tags" Target="../tags/tag447.xml"/><Relationship Id="rId23" Type="http://schemas.openxmlformats.org/officeDocument/2006/relationships/tags" Target="../tags/tag455.xml"/><Relationship Id="rId10" Type="http://schemas.openxmlformats.org/officeDocument/2006/relationships/tags" Target="../tags/tag442.xml"/><Relationship Id="rId19" Type="http://schemas.openxmlformats.org/officeDocument/2006/relationships/tags" Target="../tags/tag451.xml"/><Relationship Id="rId4" Type="http://schemas.openxmlformats.org/officeDocument/2006/relationships/tags" Target="../tags/tag436.xml"/><Relationship Id="rId9" Type="http://schemas.openxmlformats.org/officeDocument/2006/relationships/tags" Target="../tags/tag441.xml"/><Relationship Id="rId14" Type="http://schemas.openxmlformats.org/officeDocument/2006/relationships/tags" Target="../tags/tag446.xml"/><Relationship Id="rId22" Type="http://schemas.openxmlformats.org/officeDocument/2006/relationships/tags" Target="../tags/tag454.xml"/><Relationship Id="rId27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t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notesSlide" Target="../notesSlides/notesSlide4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emf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notesSlide" Target="../notesSlides/notesSlide5.xml"/><Relationship Id="rId3" Type="http://schemas.openxmlformats.org/officeDocument/2006/relationships/tags" Target="../tags/tag51.xml"/><Relationship Id="rId21" Type="http://schemas.openxmlformats.org/officeDocument/2006/relationships/tags" Target="../tags/tag69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18992" y="2661446"/>
            <a:ext cx="7587008" cy="2784307"/>
          </a:xfrm>
        </p:spPr>
        <p:txBody>
          <a:bodyPr/>
          <a:lstStyle/>
          <a:p>
            <a:r>
              <a:rPr lang="es-MX" sz="3200" dirty="0"/>
              <a:t>Matriz de Riesgos de Cumplimiento</a:t>
            </a:r>
            <a:br>
              <a:rPr lang="es-MX" sz="3200" dirty="0"/>
            </a:br>
            <a:br>
              <a:rPr lang="es-MX" sz="3200" dirty="0"/>
            </a:br>
            <a:br>
              <a:rPr lang="es-MX" sz="3200" dirty="0"/>
            </a:br>
            <a:br>
              <a:rPr lang="es-MX" sz="3200" dirty="0"/>
            </a:br>
            <a:br>
              <a:rPr lang="es-MX" sz="3200" dirty="0"/>
            </a:br>
            <a:r>
              <a:rPr lang="es-MX" sz="16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*Versión aprobada Comité Ética y Cumplimiento sesión 22 diciembre 2021</a:t>
            </a:r>
            <a:endParaRPr lang="es-CO" sz="32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/>
          </p:nvPr>
        </p:nvSpPr>
        <p:spPr>
          <a:xfrm>
            <a:off x="429208" y="1124746"/>
            <a:ext cx="2305049" cy="1536700"/>
          </a:xfrm>
        </p:spPr>
        <p:txBody>
          <a:bodyPr>
            <a:normAutofit lnSpcReduction="10000"/>
          </a:bodyPr>
          <a:lstStyle/>
          <a:p>
            <a:r>
              <a:rPr lang="es-ES_tradnl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067107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562668" y="212732"/>
            <a:ext cx="6848539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Alteración de datos de medición.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58221" y="1098378"/>
            <a:ext cx="10671895" cy="4078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100" b="1" i="1" kern="0" dirty="0">
                <a:solidFill>
                  <a:srgbClr val="1F497D"/>
                </a:solidFill>
              </a:rPr>
              <a:t>Manipulación de variables operativas y de calidad de gas (presión, flujo, temperatura, poderes caloríficos) en la actividad de calibración o en la descarga del archivo plano al final de cada mes con el fin de obtener un beneficio propio o de un tercero.</a:t>
            </a:r>
            <a:endParaRPr lang="es-CO" sz="11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092067"/>
              </p:ext>
            </p:extLst>
          </p:nvPr>
        </p:nvGraphicFramePr>
        <p:xfrm>
          <a:off x="366604" y="1791530"/>
          <a:ext cx="6534264" cy="17526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178088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178088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822699">
                <a:tc>
                  <a:txBody>
                    <a:bodyPr/>
                    <a:lstStyle/>
                    <a:p>
                      <a:pPr algn="just"/>
                      <a:r>
                        <a:rPr lang="es-MX" sz="1100" dirty="0"/>
                        <a:t>1. Interés personal o de un tercer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MX" sz="1100" dirty="0"/>
                        <a:t> Pérdidas económicas.</a:t>
                      </a:r>
                    </a:p>
                    <a:p>
                      <a:pPr marL="228600" indent="-228600" algn="just">
                        <a:buAutoNum type="arabicPeriod"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8600" indent="-228600" algn="just">
                        <a:buAutoNum type="arabicPeriod"/>
                      </a:pPr>
                      <a:r>
                        <a:rPr lang="es-MX" sz="1100" dirty="0"/>
                        <a:t>Implementación de software flowcal para el manejo de balance y mediciones volumétricas. (archivo cifrado de medición que no puede ser alterado)</a:t>
                      </a:r>
                    </a:p>
                    <a:p>
                      <a:pPr marL="228600" indent="-228600" algn="just">
                        <a:buAutoNum type="arabicPeriod"/>
                      </a:pPr>
                      <a:r>
                        <a:rPr lang="es-MX" sz="1100" dirty="0"/>
                        <a:t>Campañas de sensibilización en ética y transparencia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3. Cálculos manuales para asignación de la energía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9251070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7822172" y="2019061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9837099" y="4891828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557062" y="489550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659025" y="488484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375104" y="489851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029162" y="1554347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184968" y="3193922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 flipH="1">
            <a:off x="8323506" y="4154692"/>
            <a:ext cx="151" cy="322218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8197707" y="390279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4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20884" y="381238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11322" y="351337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30446" y="381238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44" name="Oval 48">
            <a:extLst>
              <a:ext uri="{FF2B5EF4-FFF2-40B4-BE49-F238E27FC236}">
                <a16:creationId xmlns:a16="http://schemas.microsoft.com/office/drawing/2014/main" id="{D5E7E851-540B-408D-A070-D6953EF6FD8D}"/>
              </a:ext>
            </a:extLst>
          </p:cNvPr>
          <p:cNvSpPr/>
          <p:nvPr/>
        </p:nvSpPr>
        <p:spPr>
          <a:xfrm>
            <a:off x="8197556" y="3893716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4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1146230" y="3786753"/>
          <a:ext cx="5472520" cy="1239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260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736260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191656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919230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Operacione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Área de Medición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Área de SCADA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Superintendent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8197556" y="4476910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4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45" name="Título 1">
            <a:extLst>
              <a:ext uri="{FF2B5EF4-FFF2-40B4-BE49-F238E27FC236}">
                <a16:creationId xmlns:a16="http://schemas.microsoft.com/office/drawing/2014/main" id="{408D1AFC-9D3E-43B2-BEF8-53008E3E34E4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4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516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1.11111E-6 L -2.29167E-6 0.08333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21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541308" y="406764"/>
            <a:ext cx="11109383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Uso indebido de activos de la compañía para actividades no </a:t>
            </a:r>
          </a:p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propias de la labor. 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567162" y="1118713"/>
            <a:ext cx="8418235" cy="2693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Utilización intencional de los activos de la compañía para actividades no autorizadas,  en beneficio propio o de terceros. 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221713"/>
              </p:ext>
            </p:extLst>
          </p:nvPr>
        </p:nvGraphicFramePr>
        <p:xfrm>
          <a:off x="567162" y="1606749"/>
          <a:ext cx="6534264" cy="226773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178088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178088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324588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565999">
                <a:tc>
                  <a:txBody>
                    <a:bodyPr/>
                    <a:lstStyle/>
                    <a:p>
                      <a:r>
                        <a:rPr lang="es-MX" sz="1200" dirty="0"/>
                        <a:t>1. Interés personal o de un tercer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érdidas económicas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operativ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a la imagen y reputación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Control de entrada y salida de activos en bodegas y centros operacionales. (administrador de Bodega, almacenista y Seguridad Física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376853">
                <a:tc rowSpan="2">
                  <a:txBody>
                    <a:bodyPr/>
                    <a:lstStyle/>
                    <a:p>
                      <a:r>
                        <a:rPr lang="es-MX" sz="1200" dirty="0"/>
                        <a:t>2. Presión indebida de superiores o terceros. </a:t>
                      </a:r>
                    </a:p>
                    <a:p>
                      <a:endParaRPr lang="es-MX" sz="1200" dirty="0"/>
                    </a:p>
                    <a:p>
                      <a:r>
                        <a:rPr lang="es-MX" sz="1200" dirty="0"/>
                        <a:t>3. Usencia de control en el registro de material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8269321"/>
                  </a:ext>
                </a:extLst>
              </a:tr>
              <a:tr h="75442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dirty="0"/>
                        <a:t>2.   Campañas de sensibilización en ética y transparenc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855765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033292" y="1912303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048219" y="4785070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768182" y="4788743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870145" y="4778087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586224" y="4791753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240282" y="1447589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396088" y="3087164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 flipH="1">
            <a:off x="9637016" y="3050482"/>
            <a:ext cx="4333" cy="326858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9515399" y="279858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5</a:t>
            </a: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23060" y="243613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13498" y="213712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32622" y="243613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44" name="Oval 48">
            <a:extLst>
              <a:ext uri="{FF2B5EF4-FFF2-40B4-BE49-F238E27FC236}">
                <a16:creationId xmlns:a16="http://schemas.microsoft.com/office/drawing/2014/main" id="{69793AF1-1688-4C0B-887D-A317C8F1BF41}"/>
              </a:ext>
            </a:extLst>
          </p:cNvPr>
          <p:cNvSpPr/>
          <p:nvPr/>
        </p:nvSpPr>
        <p:spPr>
          <a:xfrm>
            <a:off x="9511066" y="2813181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5</a:t>
            </a:r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1123471" y="4161879"/>
          <a:ext cx="5472520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260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736260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191656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919230"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a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Servicios Administrativo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stión y Control administrativa de la Vicepresidencia de Operacion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Superintendent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9511066" y="3377340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5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45" name="Título 1">
            <a:extLst>
              <a:ext uri="{FF2B5EF4-FFF2-40B4-BE49-F238E27FC236}">
                <a16:creationId xmlns:a16="http://schemas.microsoft.com/office/drawing/2014/main" id="{C987A3FA-A837-40E2-A90F-E0FCFE39B95F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5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604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2.22222E-6 L -0.00039 0.08125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40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2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76166" y="278758"/>
            <a:ext cx="11572718" cy="76841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2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Operación de estaciones de transferencia de custodia sin el </a:t>
            </a:r>
          </a:p>
          <a:p>
            <a:pPr algn="l"/>
            <a:r>
              <a:rPr lang="es-MX" altLang="es-CO" sz="22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Cumplimiento de los requisitos regulatorios y normativos para beneficio propio o de un tercero</a:t>
            </a:r>
            <a:endParaRPr lang="es-CO" altLang="es-CO" sz="22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907953"/>
              </p:ext>
            </p:extLst>
          </p:nvPr>
        </p:nvGraphicFramePr>
        <p:xfrm>
          <a:off x="667364" y="1876161"/>
          <a:ext cx="6534264" cy="24561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178088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178088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324588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942852">
                <a:tc rowSpan="2">
                  <a:txBody>
                    <a:bodyPr/>
                    <a:lstStyle/>
                    <a:p>
                      <a:r>
                        <a:rPr lang="es-MX" sz="1200" dirty="0"/>
                        <a:t>1. Interés personal o de un tercer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Hallazgos fiscale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de la operació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Imagen y reputació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Incluir dentro del PDT la actividad de inspección del cumplimiento normativo de estaciones de tercero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75442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s-MX" sz="1200" dirty="0"/>
                        <a:t>2. Desarrollo del procedimiento para la inspección general de puntos de entrada y salida. (Consolidación de Mantenimiento, Operación, Comercia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85576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9837098" y="4616801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557061" y="4620474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659024" y="4609818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375103" y="4623484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>
            <a:off x="10531735" y="3320422"/>
            <a:ext cx="0" cy="369817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0420852" y="3068577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10405785" y="3690239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405785" y="306852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23060" y="342089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13498" y="312188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32622" y="342089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1334864" y="4644866"/>
          <a:ext cx="5472520" cy="1009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260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736260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240096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689611"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a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Centro de Conocimiento Técnico y Experiencia.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Operacion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Rectangle 12">
            <a:extLst>
              <a:ext uri="{FF2B5EF4-FFF2-40B4-BE49-F238E27FC236}">
                <a16:creationId xmlns:a16="http://schemas.microsoft.com/office/drawing/2014/main" id="{000E3702-83C6-436C-90C6-0DFF947BCCA7}"/>
              </a:ext>
            </a:extLst>
          </p:cNvPr>
          <p:cNvSpPr/>
          <p:nvPr/>
        </p:nvSpPr>
        <p:spPr>
          <a:xfrm>
            <a:off x="579989" y="1259273"/>
            <a:ext cx="10753079" cy="50013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altLang="es-CO" sz="1400" b="1" dirty="0">
                <a:solidFill>
                  <a:srgbClr val="1C77BC"/>
                </a:solidFill>
                <a:ea typeface="Fira Sans" panose="020B0403050000020004" pitchFamily="34" charset="0"/>
              </a:rPr>
              <a:t>Realizar manipulación técnica del equipo o no reportar as debilidades de las  estaciones de transferencia de custodia con el animo de obtener un beneficio propio o de un tercero.</a:t>
            </a:r>
            <a:r>
              <a:rPr lang="es-MX" sz="1300" b="1" i="1" kern="0" dirty="0">
                <a:solidFill>
                  <a:srgbClr val="1F497D"/>
                </a:solidFill>
              </a:rPr>
              <a:t> 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pic>
        <p:nvPicPr>
          <p:cNvPr id="45" name="Imagen 26">
            <a:extLst>
              <a:ext uri="{FF2B5EF4-FFF2-40B4-BE49-F238E27FC236}">
                <a16:creationId xmlns:a16="http://schemas.microsoft.com/office/drawing/2014/main" id="{CC052DED-9F70-4836-95FE-8DA528E97E52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5990" y="-1356414"/>
            <a:ext cx="835851" cy="3526571"/>
          </a:xfrm>
          <a:prstGeom prst="rect">
            <a:avLst/>
          </a:prstGeom>
        </p:spPr>
      </p:pic>
      <p:sp>
        <p:nvSpPr>
          <p:cNvPr id="46" name="77 CuadroTexto">
            <a:extLst>
              <a:ext uri="{FF2B5EF4-FFF2-40B4-BE49-F238E27FC236}">
                <a16:creationId xmlns:a16="http://schemas.microsoft.com/office/drawing/2014/main" id="{C5F4CDB9-161C-42AB-BA59-800C5DAEA64E}"/>
              </a:ext>
            </a:extLst>
          </p:cNvPr>
          <p:cNvSpPr txBox="1"/>
          <p:nvPr/>
        </p:nvSpPr>
        <p:spPr>
          <a:xfrm>
            <a:off x="9863932" y="4619811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47" name="Oval 16">
            <a:extLst>
              <a:ext uri="{FF2B5EF4-FFF2-40B4-BE49-F238E27FC236}">
                <a16:creationId xmlns:a16="http://schemas.microsoft.com/office/drawing/2014/main" id="{747C2103-285D-4102-B878-1F41E7EA82BA}"/>
              </a:ext>
            </a:extLst>
          </p:cNvPr>
          <p:cNvSpPr/>
          <p:nvPr/>
        </p:nvSpPr>
        <p:spPr>
          <a:xfrm>
            <a:off x="9583895" y="4623484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8" name="111 Conector recto de flecha">
            <a:extLst>
              <a:ext uri="{FF2B5EF4-FFF2-40B4-BE49-F238E27FC236}">
                <a16:creationId xmlns:a16="http://schemas.microsoft.com/office/drawing/2014/main" id="{0AF77C5A-C931-40B9-9D91-C4E302C35EE6}"/>
              </a:ext>
            </a:extLst>
          </p:cNvPr>
          <p:cNvCxnSpPr>
            <a:cxnSpLocks/>
            <a:stCxn id="50" idx="4"/>
            <a:endCxn id="49" idx="0"/>
          </p:cNvCxnSpPr>
          <p:nvPr/>
        </p:nvCxnSpPr>
        <p:spPr>
          <a:xfrm>
            <a:off x="10558569" y="3323432"/>
            <a:ext cx="0" cy="369817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49" name="Oval 77">
            <a:extLst>
              <a:ext uri="{FF2B5EF4-FFF2-40B4-BE49-F238E27FC236}">
                <a16:creationId xmlns:a16="http://schemas.microsoft.com/office/drawing/2014/main" id="{5089C904-6D1E-4E80-9233-E9EE0745D323}"/>
              </a:ext>
            </a:extLst>
          </p:cNvPr>
          <p:cNvSpPr/>
          <p:nvPr/>
        </p:nvSpPr>
        <p:spPr>
          <a:xfrm>
            <a:off x="10432619" y="3693249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50" name="Oval 48">
            <a:extLst>
              <a:ext uri="{FF2B5EF4-FFF2-40B4-BE49-F238E27FC236}">
                <a16:creationId xmlns:a16="http://schemas.microsoft.com/office/drawing/2014/main" id="{3287868A-B859-45E2-B4AC-52B0288A8950}"/>
              </a:ext>
            </a:extLst>
          </p:cNvPr>
          <p:cNvSpPr/>
          <p:nvPr/>
        </p:nvSpPr>
        <p:spPr>
          <a:xfrm>
            <a:off x="10432619" y="307153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graphicFrame>
        <p:nvGraphicFramePr>
          <p:cNvPr id="51" name="79 Tabla">
            <a:extLst>
              <a:ext uri="{FF2B5EF4-FFF2-40B4-BE49-F238E27FC236}">
                <a16:creationId xmlns:a16="http://schemas.microsoft.com/office/drawing/2014/main" id="{F0290EB8-ED3B-4A59-AEC8-70EAED3647D3}"/>
              </a:ext>
            </a:extLst>
          </p:cNvPr>
          <p:cNvGraphicFramePr>
            <a:graphicFrameLocks noGrp="1"/>
          </p:cNvGraphicFramePr>
          <p:nvPr/>
        </p:nvGraphicFramePr>
        <p:xfrm>
          <a:off x="8404210" y="2443751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2" name="77 CuadroTexto">
            <a:extLst>
              <a:ext uri="{FF2B5EF4-FFF2-40B4-BE49-F238E27FC236}">
                <a16:creationId xmlns:a16="http://schemas.microsoft.com/office/drawing/2014/main" id="{5CB7B572-7B2D-4DC3-88CF-BAC585493A86}"/>
              </a:ext>
            </a:extLst>
          </p:cNvPr>
          <p:cNvSpPr txBox="1"/>
          <p:nvPr/>
        </p:nvSpPr>
        <p:spPr>
          <a:xfrm>
            <a:off x="9241063" y="530953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53" name="Oval 16">
            <a:extLst>
              <a:ext uri="{FF2B5EF4-FFF2-40B4-BE49-F238E27FC236}">
                <a16:creationId xmlns:a16="http://schemas.microsoft.com/office/drawing/2014/main" id="{4FFCEBF8-B282-4642-813D-9A7059BACAEF}"/>
              </a:ext>
            </a:extLst>
          </p:cNvPr>
          <p:cNvSpPr/>
          <p:nvPr/>
        </p:nvSpPr>
        <p:spPr>
          <a:xfrm>
            <a:off x="8957142" y="532320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54" name="Group 64">
            <a:extLst>
              <a:ext uri="{FF2B5EF4-FFF2-40B4-BE49-F238E27FC236}">
                <a16:creationId xmlns:a16="http://schemas.microsoft.com/office/drawing/2014/main" id="{F59F00B1-FADF-4FD9-B8F2-B265AD3FE097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611200" y="1979037"/>
            <a:ext cx="2828247" cy="428005"/>
            <a:chOff x="5027777" y="356268"/>
            <a:chExt cx="3499014" cy="428005"/>
          </a:xfrm>
        </p:grpSpPr>
        <p:sp>
          <p:nvSpPr>
            <p:cNvPr id="55" name="Round Same Side Corner Rectangle 65">
              <a:extLst>
                <a:ext uri="{FF2B5EF4-FFF2-40B4-BE49-F238E27FC236}">
                  <a16:creationId xmlns:a16="http://schemas.microsoft.com/office/drawing/2014/main" id="{669BC388-9B59-4065-959A-5C36F6448401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25 CuadroTexto">
              <a:extLst>
                <a:ext uri="{FF2B5EF4-FFF2-40B4-BE49-F238E27FC236}">
                  <a16:creationId xmlns:a16="http://schemas.microsoft.com/office/drawing/2014/main" id="{639C1C04-FF45-404A-9D85-26D3221E9C6C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57" name="Round Same Side Corner Rectangle 67">
              <a:extLst>
                <a:ext uri="{FF2B5EF4-FFF2-40B4-BE49-F238E27FC236}">
                  <a16:creationId xmlns:a16="http://schemas.microsoft.com/office/drawing/2014/main" id="{A0B0D1C1-8213-4542-98BE-7897B291351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25 CuadroTexto">
              <a:extLst>
                <a:ext uri="{FF2B5EF4-FFF2-40B4-BE49-F238E27FC236}">
                  <a16:creationId xmlns:a16="http://schemas.microsoft.com/office/drawing/2014/main" id="{0909680F-876B-47D6-9717-F1BF0BFCC757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59" name="Round Same Side Corner Rectangle 78">
              <a:extLst>
                <a:ext uri="{FF2B5EF4-FFF2-40B4-BE49-F238E27FC236}">
                  <a16:creationId xmlns:a16="http://schemas.microsoft.com/office/drawing/2014/main" id="{8FAF7114-6394-4114-A042-1110D7A0611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25 CuadroTexto">
              <a:extLst>
                <a:ext uri="{FF2B5EF4-FFF2-40B4-BE49-F238E27FC236}">
                  <a16:creationId xmlns:a16="http://schemas.microsoft.com/office/drawing/2014/main" id="{E6DE9A39-BE56-47E9-AA57-F5EA61753C07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61" name="Round Same Side Corner Rectangle 80">
              <a:extLst>
                <a:ext uri="{FF2B5EF4-FFF2-40B4-BE49-F238E27FC236}">
                  <a16:creationId xmlns:a16="http://schemas.microsoft.com/office/drawing/2014/main" id="{2BD56B07-2342-441F-8BAF-B5774A0EE10E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25 CuadroTexto">
              <a:extLst>
                <a:ext uri="{FF2B5EF4-FFF2-40B4-BE49-F238E27FC236}">
                  <a16:creationId xmlns:a16="http://schemas.microsoft.com/office/drawing/2014/main" id="{7818CA88-54A4-406E-9761-F9FAB03DB2B6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63" name="Round Same Side Corner Rectangle 82">
              <a:extLst>
                <a:ext uri="{FF2B5EF4-FFF2-40B4-BE49-F238E27FC236}">
                  <a16:creationId xmlns:a16="http://schemas.microsoft.com/office/drawing/2014/main" id="{0798B2BF-988A-458A-86FF-3A78C768775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25 CuadroTexto">
              <a:extLst>
                <a:ext uri="{FF2B5EF4-FFF2-40B4-BE49-F238E27FC236}">
                  <a16:creationId xmlns:a16="http://schemas.microsoft.com/office/drawing/2014/main" id="{588A9CBD-1147-4A57-8317-D8B2515F77E0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65" name="Rectangle 96">
              <a:extLst>
                <a:ext uri="{FF2B5EF4-FFF2-40B4-BE49-F238E27FC236}">
                  <a16:creationId xmlns:a16="http://schemas.microsoft.com/office/drawing/2014/main" id="{6D1E5D56-54DE-47BB-99D9-2B02998D74CB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6" name="Group 97">
            <a:extLst>
              <a:ext uri="{FF2B5EF4-FFF2-40B4-BE49-F238E27FC236}">
                <a16:creationId xmlns:a16="http://schemas.microsoft.com/office/drawing/2014/main" id="{20840C67-CEB1-4D83-9828-F1551495AA4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767006" y="3618612"/>
            <a:ext cx="2800340" cy="556755"/>
            <a:chOff x="1691680" y="384482"/>
            <a:chExt cx="3425890" cy="457183"/>
          </a:xfrm>
        </p:grpSpPr>
        <p:sp>
          <p:nvSpPr>
            <p:cNvPr id="67" name="Round Same Side Corner Rectangle 98">
              <a:extLst>
                <a:ext uri="{FF2B5EF4-FFF2-40B4-BE49-F238E27FC236}">
                  <a16:creationId xmlns:a16="http://schemas.microsoft.com/office/drawing/2014/main" id="{041B7345-6847-41EB-A7B3-1C75F37AA46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25 CuadroTexto">
              <a:extLst>
                <a:ext uri="{FF2B5EF4-FFF2-40B4-BE49-F238E27FC236}">
                  <a16:creationId xmlns:a16="http://schemas.microsoft.com/office/drawing/2014/main" id="{6DBBA028-00E6-4931-B6F4-F204F2770009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69" name="Round Same Side Corner Rectangle 100">
              <a:extLst>
                <a:ext uri="{FF2B5EF4-FFF2-40B4-BE49-F238E27FC236}">
                  <a16:creationId xmlns:a16="http://schemas.microsoft.com/office/drawing/2014/main" id="{46447B2A-41C3-4777-97EF-2D55FCFAEB8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25 CuadroTexto">
              <a:extLst>
                <a:ext uri="{FF2B5EF4-FFF2-40B4-BE49-F238E27FC236}">
                  <a16:creationId xmlns:a16="http://schemas.microsoft.com/office/drawing/2014/main" id="{88C19C9B-AD9B-4A7F-BB41-882C42466C6C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71" name="Round Same Side Corner Rectangle 102">
              <a:extLst>
                <a:ext uri="{FF2B5EF4-FFF2-40B4-BE49-F238E27FC236}">
                  <a16:creationId xmlns:a16="http://schemas.microsoft.com/office/drawing/2014/main" id="{A6C717C2-66A1-4CB7-94EE-1C347D33346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25 CuadroTexto">
              <a:extLst>
                <a:ext uri="{FF2B5EF4-FFF2-40B4-BE49-F238E27FC236}">
                  <a16:creationId xmlns:a16="http://schemas.microsoft.com/office/drawing/2014/main" id="{336C6ED5-E8E5-49AD-8E2E-C253A3AAB99B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73" name="Round Same Side Corner Rectangle 104">
              <a:extLst>
                <a:ext uri="{FF2B5EF4-FFF2-40B4-BE49-F238E27FC236}">
                  <a16:creationId xmlns:a16="http://schemas.microsoft.com/office/drawing/2014/main" id="{57A02728-A465-4A57-A2E2-AA77EF3B37B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25 CuadroTexto">
              <a:extLst>
                <a:ext uri="{FF2B5EF4-FFF2-40B4-BE49-F238E27FC236}">
                  <a16:creationId xmlns:a16="http://schemas.microsoft.com/office/drawing/2014/main" id="{85B9F9D8-E3A5-4F8B-B33C-6347EBD0EC6D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75" name="Round Same Side Corner Rectangle 106">
              <a:extLst>
                <a:ext uri="{FF2B5EF4-FFF2-40B4-BE49-F238E27FC236}">
                  <a16:creationId xmlns:a16="http://schemas.microsoft.com/office/drawing/2014/main" id="{C725B057-45DF-4BA3-8FD1-A6F098E46C24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25 CuadroTexto">
              <a:extLst>
                <a:ext uri="{FF2B5EF4-FFF2-40B4-BE49-F238E27FC236}">
                  <a16:creationId xmlns:a16="http://schemas.microsoft.com/office/drawing/2014/main" id="{31D07446-256F-4506-9594-EDAB481105F0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77" name="Rectangle 108">
              <a:extLst>
                <a:ext uri="{FF2B5EF4-FFF2-40B4-BE49-F238E27FC236}">
                  <a16:creationId xmlns:a16="http://schemas.microsoft.com/office/drawing/2014/main" id="{F2C885F3-F04B-457E-B0FB-5C8C639120DA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sp>
        <p:nvSpPr>
          <p:cNvPr id="78" name="77 CuadroTexto">
            <a:extLst>
              <a:ext uri="{FF2B5EF4-FFF2-40B4-BE49-F238E27FC236}">
                <a16:creationId xmlns:a16="http://schemas.microsoft.com/office/drawing/2014/main" id="{956601C5-8FA1-49FE-A939-8064BFC48FBE}"/>
              </a:ext>
            </a:extLst>
          </p:cNvPr>
          <p:cNvSpPr txBox="1"/>
          <p:nvPr/>
        </p:nvSpPr>
        <p:spPr>
          <a:xfrm>
            <a:off x="10445971" y="5319528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79" name="Oval 16">
            <a:extLst>
              <a:ext uri="{FF2B5EF4-FFF2-40B4-BE49-F238E27FC236}">
                <a16:creationId xmlns:a16="http://schemas.microsoft.com/office/drawing/2014/main" id="{61B5AC33-9E38-497B-A6D1-62A2CDFE16AB}"/>
              </a:ext>
            </a:extLst>
          </p:cNvPr>
          <p:cNvSpPr/>
          <p:nvPr/>
        </p:nvSpPr>
        <p:spPr>
          <a:xfrm>
            <a:off x="10165934" y="532320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80" name="111 Conector recto de flecha">
            <a:extLst>
              <a:ext uri="{FF2B5EF4-FFF2-40B4-BE49-F238E27FC236}">
                <a16:creationId xmlns:a16="http://schemas.microsoft.com/office/drawing/2014/main" id="{33F56B20-4860-492E-BCC7-5B30BB772DB4}"/>
              </a:ext>
            </a:extLst>
          </p:cNvPr>
          <p:cNvCxnSpPr>
            <a:cxnSpLocks/>
            <a:stCxn id="82" idx="4"/>
            <a:endCxn id="81" idx="0"/>
          </p:cNvCxnSpPr>
          <p:nvPr/>
        </p:nvCxnSpPr>
        <p:spPr>
          <a:xfrm>
            <a:off x="11140608" y="4023149"/>
            <a:ext cx="0" cy="369817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83" name="Oval 48">
            <a:extLst>
              <a:ext uri="{FF2B5EF4-FFF2-40B4-BE49-F238E27FC236}">
                <a16:creationId xmlns:a16="http://schemas.microsoft.com/office/drawing/2014/main" id="{0B1AF62C-93B9-4605-A3CD-2610A1E4DC7E}"/>
              </a:ext>
            </a:extLst>
          </p:cNvPr>
          <p:cNvSpPr/>
          <p:nvPr/>
        </p:nvSpPr>
        <p:spPr>
          <a:xfrm>
            <a:off x="11014658" y="377420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6</a:t>
            </a:r>
          </a:p>
        </p:txBody>
      </p:sp>
      <p:sp>
        <p:nvSpPr>
          <p:cNvPr id="82" name="Oval 48">
            <a:extLst>
              <a:ext uri="{FF2B5EF4-FFF2-40B4-BE49-F238E27FC236}">
                <a16:creationId xmlns:a16="http://schemas.microsoft.com/office/drawing/2014/main" id="{1970C572-FED1-407C-84CE-FE434C918598}"/>
              </a:ext>
            </a:extLst>
          </p:cNvPr>
          <p:cNvSpPr/>
          <p:nvPr/>
        </p:nvSpPr>
        <p:spPr>
          <a:xfrm>
            <a:off x="11014658" y="3771249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6</a:t>
            </a:r>
          </a:p>
        </p:txBody>
      </p:sp>
      <p:sp>
        <p:nvSpPr>
          <p:cNvPr id="81" name="Oval 77">
            <a:extLst>
              <a:ext uri="{FF2B5EF4-FFF2-40B4-BE49-F238E27FC236}">
                <a16:creationId xmlns:a16="http://schemas.microsoft.com/office/drawing/2014/main" id="{EF216DC8-BE0D-43AE-8EB6-7BFC962904AD}"/>
              </a:ext>
            </a:extLst>
          </p:cNvPr>
          <p:cNvSpPr/>
          <p:nvPr/>
        </p:nvSpPr>
        <p:spPr>
          <a:xfrm>
            <a:off x="11014658" y="4392966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6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84" name="Título 1">
            <a:extLst>
              <a:ext uri="{FF2B5EF4-FFF2-40B4-BE49-F238E27FC236}">
                <a16:creationId xmlns:a16="http://schemas.microsoft.com/office/drawing/2014/main" id="{DCE1AE47-6019-4B14-869C-25C78C689ED9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6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47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1.48148E-6 L -1.875E-6 0.0912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5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  <p:bldP spid="8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6">
            <a:extLst>
              <a:ext uri="{FF2B5EF4-FFF2-40B4-BE49-F238E27FC236}">
                <a16:creationId xmlns:a16="http://schemas.microsoft.com/office/drawing/2014/main" id="{73EED8C6-E348-4814-B45D-88F6E3D959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9" r="1055"/>
          <a:stretch/>
        </p:blipFill>
        <p:spPr>
          <a:xfrm>
            <a:off x="-6875" y="-5549"/>
            <a:ext cx="12198875" cy="6880593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" y="-119979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990" y="5988721"/>
            <a:ext cx="1831456" cy="7493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/>
          <a:srcRect t="20835" r="36592"/>
          <a:stretch/>
        </p:blipFill>
        <p:spPr>
          <a:xfrm flipH="1" flipV="1">
            <a:off x="-6875" y="4388349"/>
            <a:ext cx="2043052" cy="2495217"/>
          </a:xfrm>
          <a:prstGeom prst="rect">
            <a:avLst/>
          </a:prstGeom>
        </p:spPr>
      </p:pic>
      <p:sp>
        <p:nvSpPr>
          <p:cNvPr id="15" name="Elipse 25">
            <a:extLst>
              <a:ext uri="{FF2B5EF4-FFF2-40B4-BE49-F238E27FC236}">
                <a16:creationId xmlns:a16="http://schemas.microsoft.com/office/drawing/2014/main" id="{020E950E-786F-824D-B557-CA1927B2896C}"/>
              </a:ext>
            </a:extLst>
          </p:cNvPr>
          <p:cNvSpPr/>
          <p:nvPr/>
        </p:nvSpPr>
        <p:spPr>
          <a:xfrm>
            <a:off x="7494301" y="2880830"/>
            <a:ext cx="2967218" cy="2854632"/>
          </a:xfrm>
          <a:prstGeom prst="ellipse">
            <a:avLst/>
          </a:prstGeom>
          <a:solidFill>
            <a:srgbClr val="1E70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6" name="Elipse 9">
            <a:extLst>
              <a:ext uri="{FF2B5EF4-FFF2-40B4-BE49-F238E27FC236}">
                <a16:creationId xmlns:a16="http://schemas.microsoft.com/office/drawing/2014/main" id="{A21884BD-E348-7447-8F2A-C29F9A821196}"/>
              </a:ext>
            </a:extLst>
          </p:cNvPr>
          <p:cNvSpPr/>
          <p:nvPr/>
        </p:nvSpPr>
        <p:spPr>
          <a:xfrm>
            <a:off x="9529683" y="2580212"/>
            <a:ext cx="931836" cy="892198"/>
          </a:xfrm>
          <a:prstGeom prst="ellipse">
            <a:avLst/>
          </a:prstGeom>
          <a:solidFill>
            <a:srgbClr val="009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7" name="CuadroTexto 19">
            <a:extLst>
              <a:ext uri="{FF2B5EF4-FFF2-40B4-BE49-F238E27FC236}">
                <a16:creationId xmlns:a16="http://schemas.microsoft.com/office/drawing/2014/main" id="{ABA69903-B546-F74F-B854-0B28C05D2B42}"/>
              </a:ext>
            </a:extLst>
          </p:cNvPr>
          <p:cNvSpPr txBox="1"/>
          <p:nvPr/>
        </p:nvSpPr>
        <p:spPr>
          <a:xfrm>
            <a:off x="7691687" y="3515692"/>
            <a:ext cx="2769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400" b="1" dirty="0">
                <a:solidFill>
                  <a:schemeClr val="bg1"/>
                </a:solidFill>
                <a:latin typeface="Fira Sans ExtraBold" charset="0"/>
                <a:ea typeface="Fira Sans ExtraBold" charset="0"/>
                <a:cs typeface="Fira Sans ExtraBold" charset="0"/>
              </a:rPr>
              <a:t>Procesos</a:t>
            </a:r>
            <a:endParaRPr lang="es-CO" sz="5400" dirty="0">
              <a:solidFill>
                <a:schemeClr val="bg1"/>
              </a:solidFill>
              <a:latin typeface="Fira Sans Light" charset="0"/>
              <a:ea typeface="Fira Sans Light" charset="0"/>
              <a:cs typeface="Fira Sans Light" charset="0"/>
            </a:endParaRPr>
          </a:p>
        </p:txBody>
      </p:sp>
      <p:sp>
        <p:nvSpPr>
          <p:cNvPr id="18" name="Elipse 25">
            <a:extLst>
              <a:ext uri="{FF2B5EF4-FFF2-40B4-BE49-F238E27FC236}">
                <a16:creationId xmlns:a16="http://schemas.microsoft.com/office/drawing/2014/main" id="{020E950E-786F-824D-B557-CA1927B2896C}"/>
              </a:ext>
            </a:extLst>
          </p:cNvPr>
          <p:cNvSpPr/>
          <p:nvPr/>
        </p:nvSpPr>
        <p:spPr>
          <a:xfrm>
            <a:off x="545740" y="403740"/>
            <a:ext cx="540718" cy="520202"/>
          </a:xfrm>
          <a:prstGeom prst="ellipse">
            <a:avLst/>
          </a:prstGeom>
          <a:solidFill>
            <a:srgbClr val="1E70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2" name="Rectángulo 22">
            <a:extLst>
              <a:ext uri="{FF2B5EF4-FFF2-40B4-BE49-F238E27FC236}">
                <a16:creationId xmlns:a16="http://schemas.microsoft.com/office/drawing/2014/main" id="{4BD39351-A703-4A36-9912-212A79D3F84F}"/>
              </a:ext>
            </a:extLst>
          </p:cNvPr>
          <p:cNvSpPr/>
          <p:nvPr/>
        </p:nvSpPr>
        <p:spPr>
          <a:xfrm>
            <a:off x="7494301" y="4308146"/>
            <a:ext cx="4710378" cy="972273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5400" dirty="0">
                <a:solidFill>
                  <a:schemeClr val="bg1"/>
                </a:solidFill>
                <a:latin typeface="Fira Sans ExtraBold" charset="0"/>
              </a:rPr>
              <a:t>Transversales</a:t>
            </a:r>
            <a:endParaRPr lang="es-ES_tradnl" sz="5400" dirty="0">
              <a:solidFill>
                <a:schemeClr val="bg1"/>
              </a:solidFill>
              <a:latin typeface="Fira Sans Extra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709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42184" y="272882"/>
            <a:ext cx="11424601" cy="8073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Seleccionar y/o mantener relaciones comerciales con </a:t>
            </a:r>
          </a:p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proveedores y/o contratistas que puedan afectar la reputación de la Compañía. 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28075" y="1243699"/>
            <a:ext cx="10911166" cy="23852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100" b="1" i="1" kern="0" dirty="0">
                <a:solidFill>
                  <a:srgbClr val="1F497D"/>
                </a:solidFill>
              </a:rPr>
              <a:t>Riesgo reputacional por contagio. </a:t>
            </a:r>
            <a:endParaRPr lang="es-CO" sz="11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947649"/>
              </p:ext>
            </p:extLst>
          </p:nvPr>
        </p:nvGraphicFramePr>
        <p:xfrm>
          <a:off x="590050" y="1800504"/>
          <a:ext cx="6534264" cy="331809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10997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445179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80643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541599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Incumplimiento a los procedimientos de contratació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de la imagen y reputación de la Empresa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Reprocesos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Económico </a:t>
                      </a:r>
                      <a:endParaRPr lang="es-CO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Cumplimiento de los procedimientos de verificación lista  de control en todas las modalidades de contratación / Para contratos con plazo de ejecución superior a un año, los interventores realizarán consulta en listas restrictivas anualmente./ Cuando aplique, Revisión por parte de las Direcciones de Cumplimento y  Asuntos Contractuales de los resultados de las verificaciones en lista de control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1694451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Ausencia de validación y monitoreo y/o validación incompleta / o errónea en listas  de contr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735491"/>
                  </a:ext>
                </a:extLst>
              </a:tr>
              <a:tr h="752699">
                <a:tc>
                  <a:txBody>
                    <a:bodyPr/>
                    <a:lstStyle/>
                    <a:p>
                      <a:r>
                        <a:rPr lang="es-MX" sz="1100" dirty="0"/>
                        <a:t>3. No tener elementos jurídicos  que permitan rechazar una oferta o terminar una relación contractual</a:t>
                      </a:r>
                      <a:endParaRPr lang="es-CO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2. Cláusulas de terminación anticipada de contratos o rechazo de oferta por reportes relacionados con delitos fuentes de LA/FT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041036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334819" y="2019061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254308" y="4926179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74271" y="4929852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54602" y="4926179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70681" y="4939845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541809" y="1554347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97615" y="3193922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 flipH="1">
            <a:off x="11046098" y="2679550"/>
            <a:ext cx="7283" cy="1716228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927431" y="2427650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7</a:t>
            </a: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44" name="Oval 48">
            <a:extLst>
              <a:ext uri="{FF2B5EF4-FFF2-40B4-BE49-F238E27FC236}">
                <a16:creationId xmlns:a16="http://schemas.microsoft.com/office/drawing/2014/main" id="{92A69AFF-E886-459C-BA5F-14B4931B3C7F}"/>
              </a:ext>
            </a:extLst>
          </p:cNvPr>
          <p:cNvSpPr/>
          <p:nvPr/>
        </p:nvSpPr>
        <p:spPr>
          <a:xfrm>
            <a:off x="10927431" y="2435305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7</a:t>
            </a:r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7360159" y="5356875"/>
          <a:ext cx="4431182" cy="1092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08114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772394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 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Asuntos Contractuales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Abastecimient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10920148" y="4395778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7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45" name="Título 1">
            <a:extLst>
              <a:ext uri="{FF2B5EF4-FFF2-40B4-BE49-F238E27FC236}">
                <a16:creationId xmlns:a16="http://schemas.microsoft.com/office/drawing/2014/main" id="{CE479D1C-C813-4719-805B-ED98FFE29713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7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783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3.7037E-7 L -4.16667E-7 0.2838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41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21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78591" y="197107"/>
            <a:ext cx="11666101" cy="80394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0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ecibo a satisfacción y aprobación de pagos de actividades y productos sin su </a:t>
            </a:r>
          </a:p>
          <a:p>
            <a:pPr algn="l"/>
            <a:r>
              <a:rPr lang="es-MX" altLang="es-CO" sz="20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adecuada verificación y/o sin el cumplimiento de las especificaciones técnicas y contractuales. </a:t>
            </a:r>
            <a:endParaRPr lang="es-CO" altLang="es-CO" sz="20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42184" y="1235554"/>
            <a:ext cx="10911166" cy="46935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Autorizar intencionalmente   pagos por concepto de actividades ejecutadas o bienes recibidos  sin su debido soporte o sin cumplir los requerimientos técnicos y de calidad exigidos  con el fin de obtener un beneficio propio  o de un tercero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803752"/>
              </p:ext>
            </p:extLst>
          </p:nvPr>
        </p:nvGraphicFramePr>
        <p:xfrm>
          <a:off x="544675" y="1849117"/>
          <a:ext cx="6921339" cy="285640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07113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024200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590026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93605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58721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1. Aceptación de dádivas durante el proceso de interventoría.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érdidas económicas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de la infraestructura por calidad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reputacional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1. Segregación de funciones para proceso de pago / Socialización de las normas de ética y cumplimiento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  <a:tr h="922759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2. Interventores no capacitados o sin las cualidades técnicas requerida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2. Capacitaciones a los interventores./ Contratación de interventorías externas para procesos de mantenimiento, operación y construcció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3962"/>
                  </a:ext>
                </a:extLst>
              </a:tr>
              <a:tr h="890445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3. Alteración de los soportes de ejecución del contrato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z="1200" dirty="0"/>
                        <a:t>3. Auditorías a los contratos. / Verificación de documentos de ejecución del contrato por parte del interventor.</a:t>
                      </a:r>
                      <a:endParaRPr lang="es-CO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366397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318113" y="2471688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237602" y="5352172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57565" y="5355845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37896" y="5352172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53975" y="536583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525103" y="1980340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80909" y="3619915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9804588" y="2824106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8</a:t>
            </a:r>
          </a:p>
        </p:txBody>
      </p: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endCxn id="216" idx="0"/>
          </p:cNvCxnSpPr>
          <p:nvPr/>
        </p:nvCxnSpPr>
        <p:spPr>
          <a:xfrm flipH="1">
            <a:off x="9931933" y="3064835"/>
            <a:ext cx="3115" cy="310799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6951593"/>
              </p:ext>
            </p:extLst>
          </p:nvPr>
        </p:nvGraphicFramePr>
        <p:xfrm>
          <a:off x="2488051" y="5131437"/>
          <a:ext cx="4431182" cy="132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273828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704129">
                <a:tc>
                  <a:txBody>
                    <a:bodyPr/>
                    <a:lstStyle/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Gerencia de Abastecimiento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Vicepresidencia de Construcción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Dirección de Cumplimiento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Interventores de contrat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Oval 48">
            <a:extLst>
              <a:ext uri="{FF2B5EF4-FFF2-40B4-BE49-F238E27FC236}">
                <a16:creationId xmlns:a16="http://schemas.microsoft.com/office/drawing/2014/main" id="{9B9275C9-3E8A-45C9-9CE8-50181D116D27}"/>
              </a:ext>
            </a:extLst>
          </p:cNvPr>
          <p:cNvSpPr/>
          <p:nvPr/>
        </p:nvSpPr>
        <p:spPr>
          <a:xfrm>
            <a:off x="9804588" y="2812935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8</a:t>
            </a: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9805983" y="3375634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8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45" name="Título 1">
            <a:extLst>
              <a:ext uri="{FF2B5EF4-FFF2-40B4-BE49-F238E27FC236}">
                <a16:creationId xmlns:a16="http://schemas.microsoft.com/office/drawing/2014/main" id="{567C4D7B-2D0A-4642-AC71-26529A29647F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8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8728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0.0051 L -0.00026 0.0791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370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92387" y="314539"/>
            <a:ext cx="6183621" cy="42205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Uso indebido de  información  confidencial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42184" y="837264"/>
            <a:ext cx="10911166" cy="46935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Revelar información privilegiada y de carácter confidencial  a u tercero  respecto  a actividades  de tipo técnico, operativo, financiero, comercial y de inversiones de la empresa en beneficio propio o de un tercero 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4133789"/>
              </p:ext>
            </p:extLst>
          </p:nvPr>
        </p:nvGraphicFramePr>
        <p:xfrm>
          <a:off x="492387" y="1445312"/>
          <a:ext cx="6924413" cy="356610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10997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835328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71411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527966">
                <a:tc rowSpan="3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Interés personal o de un tercero 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Debilidades de sistemas de seguridad informático para restringir la captura de información (Hacker, USB, acceso a correos otras plataformas de transferencia de información)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reputacional.</a:t>
                      </a:r>
                      <a:endParaRPr lang="es-CO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1. Suscripción de Acuerdos específicos de confidencialidad con el colaborad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691182">
                <a:tc vMerge="1">
                  <a:txBody>
                    <a:bodyPr/>
                    <a:lstStyle/>
                    <a:p>
                      <a:endParaRPr lang="es-C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Mejorar las herramientas de seguridad informática tales como bloqueo puerto USB en equipos, restricción acceso a la red cablead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586122"/>
                  </a:ext>
                </a:extLst>
              </a:tr>
              <a:tr h="17614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3. Socialización de los protocolos de seguridad de la información. (DTI)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just">
                        <a:buNone/>
                      </a:pPr>
                      <a:r>
                        <a:rPr lang="es-MX" sz="1100" dirty="0">
                          <a:solidFill>
                            <a:schemeClr val="tx1"/>
                          </a:solidFill>
                        </a:rPr>
                        <a:t> 4. Fortalecer el uso de un único canal de recepción de las solicitudes de transporte 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041036"/>
                  </a:ext>
                </a:extLst>
              </a:tr>
              <a:tr h="544388"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>
                          <a:solidFill>
                            <a:schemeClr val="tx1"/>
                          </a:solidFill>
                        </a:rPr>
                        <a:t>3. Desconocimiento de protocolos de seguridad de la información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1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>
                          <a:solidFill>
                            <a:schemeClr val="tx1"/>
                          </a:solidFill>
                        </a:rPr>
                        <a:t>4. Uso indebido de canales para la comercialización de transporte de gas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1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>
                          <a:solidFill>
                            <a:schemeClr val="tx1"/>
                          </a:solidFill>
                        </a:rPr>
                        <a:t>5. Aceptación de dadivas por parte de los colaboradores</a:t>
                      </a:r>
                      <a:endParaRPr lang="es-CO" sz="11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6270740"/>
                  </a:ext>
                </a:extLst>
              </a:tr>
              <a:tr h="720533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>
                          <a:solidFill>
                            <a:schemeClr val="tx1"/>
                          </a:solidFill>
                        </a:rPr>
                        <a:t>5. Desarrollar la sistematización del proceso de asignación de capacidad e transporte disponible (sujeto a los cambios regulatorios Res. 082)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6. Charlas de fortalecimiento al programa de ética y cumplimiento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923898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>
            <a:off x="9881763" y="3488092"/>
            <a:ext cx="3524" cy="379350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9755813" y="323619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9</a:t>
            </a: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9755813" y="323619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FF0000"/>
                </a:solidFill>
                <a:latin typeface="Arial"/>
              </a:rPr>
              <a:t>9</a:t>
            </a: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5586249"/>
              </p:ext>
            </p:extLst>
          </p:nvPr>
        </p:nvGraphicFramePr>
        <p:xfrm>
          <a:off x="1669002" y="5212228"/>
          <a:ext cx="4518734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2844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305890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12163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743244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Tecnología de la Información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Asuntos Corporativo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Desarrollo Comerci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9759337" y="386744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2DA1DB"/>
                </a:solidFill>
                <a:latin typeface="Arial"/>
              </a:rPr>
              <a:t>9</a:t>
            </a:r>
          </a:p>
        </p:txBody>
      </p:sp>
      <p:sp>
        <p:nvSpPr>
          <p:cNvPr id="44" name="Título 1">
            <a:extLst>
              <a:ext uri="{FF2B5EF4-FFF2-40B4-BE49-F238E27FC236}">
                <a16:creationId xmlns:a16="http://schemas.microsoft.com/office/drawing/2014/main" id="{74E22EDA-8170-4FB0-92A7-84FF952C2239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9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859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0.00509 L 3.33333E-6 0.0921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35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Elipse 6">
            <a:extLst>
              <a:ext uri="{FF2B5EF4-FFF2-40B4-BE49-F238E27FC236}">
                <a16:creationId xmlns:a16="http://schemas.microsoft.com/office/drawing/2014/main" id="{5AA7EF4A-4596-6241-B868-24C1A978E617}"/>
              </a:ext>
            </a:extLst>
          </p:cNvPr>
          <p:cNvSpPr/>
          <p:nvPr/>
        </p:nvSpPr>
        <p:spPr>
          <a:xfrm>
            <a:off x="11165888" y="1389922"/>
            <a:ext cx="321887" cy="321887"/>
          </a:xfrm>
          <a:prstGeom prst="ellipse">
            <a:avLst/>
          </a:prstGeom>
          <a:solidFill>
            <a:srgbClr val="01A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0" name="Elipse 14">
            <a:extLst>
              <a:ext uri="{FF2B5EF4-FFF2-40B4-BE49-F238E27FC236}">
                <a16:creationId xmlns:a16="http://schemas.microsoft.com/office/drawing/2014/main" id="{9FF84F37-7800-1541-B958-03A93EEC7FA0}"/>
              </a:ext>
            </a:extLst>
          </p:cNvPr>
          <p:cNvSpPr/>
          <p:nvPr/>
        </p:nvSpPr>
        <p:spPr>
          <a:xfrm>
            <a:off x="872066" y="1146751"/>
            <a:ext cx="5223934" cy="5019737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50" dirty="0"/>
          </a:p>
        </p:txBody>
      </p:sp>
      <p:sp>
        <p:nvSpPr>
          <p:cNvPr id="9" name="Elipse 21">
            <a:extLst>
              <a:ext uri="{FF2B5EF4-FFF2-40B4-BE49-F238E27FC236}">
                <a16:creationId xmlns:a16="http://schemas.microsoft.com/office/drawing/2014/main" id="{FE4329BD-8956-44A8-93C2-587EF0C72A83}"/>
              </a:ext>
            </a:extLst>
          </p:cNvPr>
          <p:cNvSpPr/>
          <p:nvPr/>
        </p:nvSpPr>
        <p:spPr>
          <a:xfrm>
            <a:off x="8606850" y="2340347"/>
            <a:ext cx="3594982" cy="3558266"/>
          </a:xfrm>
          <a:prstGeom prst="ellipse">
            <a:avLst/>
          </a:prstGeom>
          <a:solidFill>
            <a:srgbClr val="01A3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50" dirty="0"/>
          </a:p>
        </p:txBody>
      </p:sp>
      <p:sp>
        <p:nvSpPr>
          <p:cNvPr id="11" name="Rectángulo 22">
            <a:extLst>
              <a:ext uri="{FF2B5EF4-FFF2-40B4-BE49-F238E27FC236}">
                <a16:creationId xmlns:a16="http://schemas.microsoft.com/office/drawing/2014/main" id="{0C783B21-6D46-4AF3-AFDD-A3E9D5644D18}"/>
              </a:ext>
            </a:extLst>
          </p:cNvPr>
          <p:cNvSpPr/>
          <p:nvPr/>
        </p:nvSpPr>
        <p:spPr>
          <a:xfrm>
            <a:off x="7751616" y="4338620"/>
            <a:ext cx="4440384" cy="97227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2" name="CuadroTexto 19">
            <a:extLst>
              <a:ext uri="{FF2B5EF4-FFF2-40B4-BE49-F238E27FC236}">
                <a16:creationId xmlns:a16="http://schemas.microsoft.com/office/drawing/2014/main" id="{B52CEEBC-52A1-4D70-A111-6D3108F9660F}"/>
              </a:ext>
            </a:extLst>
          </p:cNvPr>
          <p:cNvSpPr txBox="1"/>
          <p:nvPr/>
        </p:nvSpPr>
        <p:spPr>
          <a:xfrm>
            <a:off x="9173702" y="3563010"/>
            <a:ext cx="50052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400" b="1" dirty="0">
                <a:solidFill>
                  <a:schemeClr val="bg1"/>
                </a:solidFill>
                <a:latin typeface="Fira Sans ExtraBold" charset="0"/>
              </a:rPr>
              <a:t>Procesos</a:t>
            </a:r>
            <a:endParaRPr lang="es-CO" sz="5400" b="1" dirty="0">
              <a:solidFill>
                <a:schemeClr val="bg1"/>
              </a:solidFill>
              <a:latin typeface="Gotham Bold" panose="02000604040000020004" pitchFamily="2" charset="0"/>
            </a:endParaRPr>
          </a:p>
          <a:p>
            <a:r>
              <a:rPr lang="es-CO" sz="5400" b="1" dirty="0">
                <a:solidFill>
                  <a:schemeClr val="bg1"/>
                </a:solidFill>
                <a:latin typeface="Fira Sans Light" charset="0"/>
                <a:ea typeface="Fira Sans Light" charset="0"/>
                <a:cs typeface="Fira Sans Light" charset="0"/>
              </a:rPr>
              <a:t>De Apoyo</a:t>
            </a:r>
          </a:p>
        </p:txBody>
      </p:sp>
    </p:spTree>
    <p:extLst>
      <p:ext uri="{BB962C8B-B14F-4D97-AF65-F5344CB8AC3E}">
        <p14:creationId xmlns:p14="http://schemas.microsoft.com/office/powerpoint/2010/main" val="424238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68759" y="485615"/>
            <a:ext cx="11287831" cy="47145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Favorecimiento  y/o direccionamiento de  la selección de un </a:t>
            </a:r>
          </a:p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oferente 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04506" y="977242"/>
            <a:ext cx="10911166" cy="2693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Favorecimiento a terceros en la adjudicación de contratos con el fin de obtener un beneficio o para un tercero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085729"/>
              </p:ext>
            </p:extLst>
          </p:nvPr>
        </p:nvGraphicFramePr>
        <p:xfrm>
          <a:off x="329021" y="1315147"/>
          <a:ext cx="7690859" cy="51448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63620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249252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877987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307385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568367"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1. Asignación repetitiva de contratos a un único proveedor mediante contratos de oferta directa (fraccionamiento de contratos)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9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Detrimento patrimonial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de la Imagen y reputación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Hallazgos fiscale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rocesos Litigiosos. </a:t>
                      </a:r>
                      <a:endParaRPr lang="es-C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1. Reporte trimestral de concentración de contratación por proveedor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  <a:tr h="324513"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2. Acuerdos de precios con varios proveedores y cumplimiento del procedimiento de selección del contratista para atención de emergencia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290962"/>
                  </a:ext>
                </a:extLst>
              </a:tr>
              <a:tr h="559907"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2. Asignación repetitiva de contratos a un único proveedor para atender contrataciones en casos de emergencia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/>
                        <a:t>2. Acuerdos de precios con varios proveedores y cumplimiento del procedimiento de selección del contratista para atención de emergencia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3962"/>
                  </a:ext>
                </a:extLst>
              </a:tr>
              <a:tr h="263053"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3. Publicación del presupuesto estimado del proceso en las condiciones específicas de contratació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295124"/>
                  </a:ext>
                </a:extLst>
              </a:tr>
              <a:tr h="347627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3. Divulgación de información privilegiada a los oferente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/>
                        <a:t>3. Publicación del presupuesto estimado del proceso en las condiciones específicas de contratación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745668"/>
                  </a:ext>
                </a:extLst>
              </a:tr>
              <a:tr h="1116111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4. Diseño de requisitos, especificaciones técnicas y criterios de evaluación de una solicitud de oferta específica para favorecer a un tercero. 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4. Aplicación de las reglas de evaluación objetivas y transparentes tales como: publicación del presupuesto estimado, definición de presupuesto objetivo, sorteo de fórmulas de evaluación económicas, publicación de criterios de evaluación, entre otros. </a:t>
                      </a: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954337"/>
                  </a:ext>
                </a:extLst>
              </a:tr>
              <a:tr h="594360"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5. Ausencia de vendor list y estándares de diferentes procesos y elementos de la empresa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5. Manifestación de los oferentes de no tener interés en el proceso a través de otro oferen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73549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 Establecer procedimiento para seleccionar los oferentes para proceso cerrado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5623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6. Ausencia de pluralidad real de oferent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5. Manifestación de los oferentes de no tener interés en el proceso a través de otro oferente.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6. Establecer procedimiento para seleccionar los oferentes para proceso cerrado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641239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775015" y="188188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694504" y="478900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10414467" y="479267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9394798" y="478900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9110877" y="480267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982005" y="141717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7137811" y="305674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>
            <a:off x="11457635" y="2972753"/>
            <a:ext cx="0" cy="1295713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1352254" y="2723905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0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1331685" y="272085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0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8259604" y="5272574"/>
          <a:ext cx="3841274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637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1920637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244871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590980">
                <a:tc>
                  <a:txBody>
                    <a:bodyPr/>
                    <a:lstStyle/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Gerencia de abastecimiento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Todos los proceso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11331685" y="4268466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0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44" name="Título 1">
            <a:extLst>
              <a:ext uri="{FF2B5EF4-FFF2-40B4-BE49-F238E27FC236}">
                <a16:creationId xmlns:a16="http://schemas.microsoft.com/office/drawing/2014/main" id="{C6043935-D847-4805-99BF-31692453667D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0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626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0.00509 L -0.00196 0.2238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" y="1092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10066152" y="-1257890"/>
            <a:ext cx="835851" cy="3369984"/>
          </a:xfrm>
          <a:prstGeom prst="rect">
            <a:avLst/>
          </a:prstGeom>
        </p:spPr>
      </p:pic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50986" y="353964"/>
            <a:ext cx="8448789" cy="37002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Alteración de la nómina para beneficio propio o de un tercero.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387867" y="788234"/>
            <a:ext cx="8244003" cy="2693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Alteración, distorsión, supresión de registros de nómina con el fin de obtener un beneficio propio o de un tercero.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78541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 flipH="1">
            <a:off x="8757820" y="3487193"/>
            <a:ext cx="14275" cy="795630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8631870" y="324442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1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8631870" y="428282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1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8646145" y="323529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1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784375"/>
              </p:ext>
            </p:extLst>
          </p:nvPr>
        </p:nvGraphicFramePr>
        <p:xfrm>
          <a:off x="2294277" y="5566627"/>
          <a:ext cx="4431182" cy="842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237286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522060">
                <a:tc>
                  <a:txBody>
                    <a:bodyPr/>
                    <a:lstStyle/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 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Gerencia de Gestión del Talent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graphicFrame>
        <p:nvGraphicFramePr>
          <p:cNvPr id="44" name="Tabla 43">
            <a:extLst>
              <a:ext uri="{FF2B5EF4-FFF2-40B4-BE49-F238E27FC236}">
                <a16:creationId xmlns:a16="http://schemas.microsoft.com/office/drawing/2014/main" id="{F0C6D72E-DC66-42E8-B18B-22DC264166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3498915"/>
              </p:ext>
            </p:extLst>
          </p:nvPr>
        </p:nvGraphicFramePr>
        <p:xfrm>
          <a:off x="529471" y="1289486"/>
          <a:ext cx="6715377" cy="38658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01151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024200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590026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94969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758493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1. Creación de cargos,  asignación salarial y pago de beneficios de forma manual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erdidas económicas.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Favorecimiento de un tercero.</a:t>
                      </a:r>
                    </a:p>
                    <a:p>
                      <a:pPr marL="0" indent="0">
                        <a:buNone/>
                      </a:pPr>
                      <a:endParaRPr lang="es-MX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>
                          <a:solidFill>
                            <a:schemeClr val="tx1"/>
                          </a:solidFill>
                        </a:rPr>
                        <a:t>1. Implementar herramientas tecnológicas que permitan la trazabilidad de la función, automatizar el proceso y reducir la manualidad del mismo. </a:t>
                      </a:r>
                      <a:endParaRPr lang="es-MX" sz="1200" strike="sngStrike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2. Debilidades en el proceso por falta de segregación de funciones o cumplimiento de requisito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2. Segregación de funciones para diferentes niveles de aprobació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3962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3. Ausencia de sistematización del proceso de nómina.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Pago sin sopor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220122"/>
                  </a:ext>
                </a:extLst>
              </a:tr>
              <a:tr h="45593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u="none" dirty="0"/>
                        <a:t>3. </a:t>
                      </a:r>
                      <a:r>
                        <a:rPr lang="es-MX" sz="1200" u="none" dirty="0">
                          <a:solidFill>
                            <a:schemeClr val="tx1"/>
                          </a:solidFill>
                        </a:rPr>
                        <a:t>Implementación de la gestión de nómina en el marco del proyecto Syner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07554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u="none" dirty="0"/>
                        <a:t>4</a:t>
                      </a:r>
                      <a:r>
                        <a:rPr lang="es-MX" sz="1200" u="none" dirty="0">
                          <a:solidFill>
                            <a:srgbClr val="FF0000"/>
                          </a:solidFill>
                        </a:rPr>
                        <a:t>. </a:t>
                      </a:r>
                      <a:r>
                        <a:rPr lang="es-MX" sz="1200" u="none" dirty="0">
                          <a:solidFill>
                            <a:schemeClr val="tx1"/>
                          </a:solidFill>
                        </a:rPr>
                        <a:t>Realizar reunión mensual de revisión de la nómina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MX" sz="1200" u="none" dirty="0"/>
                        <a:t>5. Incluir dentro del Plan Anual de Auditoría, auditorias al proceso de nómina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36271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4. Realizar pagos sin verificación de los soportes  correspondiente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2825304"/>
                  </a:ext>
                </a:extLst>
              </a:tr>
            </a:tbl>
          </a:graphicData>
        </a:graphic>
      </p:graphicFrame>
      <p:sp>
        <p:nvSpPr>
          <p:cNvPr id="45" name="Título 1">
            <a:extLst>
              <a:ext uri="{FF2B5EF4-FFF2-40B4-BE49-F238E27FC236}">
                <a16:creationId xmlns:a16="http://schemas.microsoft.com/office/drawing/2014/main" id="{3C20F5D0-B558-44F2-83B8-DE178E9B35D4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1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38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0.00509 L 0.00013 0.149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9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62"/>
          <a:stretch/>
        </p:blipFill>
        <p:spPr>
          <a:xfrm>
            <a:off x="-2" y="-6032"/>
            <a:ext cx="12245414" cy="4717461"/>
          </a:xfrm>
          <a:prstGeom prst="rect">
            <a:avLst/>
          </a:prstGeom>
        </p:spPr>
      </p:pic>
      <p:pic>
        <p:nvPicPr>
          <p:cNvPr id="8" name="Imagen 9">
            <a:extLst>
              <a:ext uri="{FF2B5EF4-FFF2-40B4-BE49-F238E27FC236}">
                <a16:creationId xmlns:a16="http://schemas.microsoft.com/office/drawing/2014/main" id="{C0AC525A-C138-4E40-A2CC-B28A2C0B4D1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9668" t="16791" b="10648"/>
          <a:stretch/>
        </p:blipFill>
        <p:spPr>
          <a:xfrm rot="5400000" flipH="1" flipV="1">
            <a:off x="1173779" y="2731607"/>
            <a:ext cx="771882" cy="311944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21" y="4995118"/>
            <a:ext cx="3392969" cy="1385942"/>
          </a:xfrm>
          <a:prstGeom prst="rect">
            <a:avLst/>
          </a:prstGeom>
        </p:spPr>
      </p:pic>
      <p:sp>
        <p:nvSpPr>
          <p:cNvPr id="12" name="Título 1"/>
          <p:cNvSpPr txBox="1">
            <a:spLocks/>
          </p:cNvSpPr>
          <p:nvPr/>
        </p:nvSpPr>
        <p:spPr>
          <a:xfrm>
            <a:off x="5499614" y="4737825"/>
            <a:ext cx="5379873" cy="138594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s-CO" altLang="es-CO" sz="2800" dirty="0">
                <a:solidFill>
                  <a:srgbClr val="4A72B0"/>
                </a:solidFill>
                <a:latin typeface="Fira Sans Light" panose="020B0403050000020004" pitchFamily="34" charset="0"/>
                <a:ea typeface="Fira Sans Light" panose="020B0403050000020004" pitchFamily="34" charset="0"/>
              </a:rPr>
            </a:br>
            <a:br>
              <a:rPr lang="es-CO" altLang="es-CO" sz="3200" dirty="0">
                <a:solidFill>
                  <a:srgbClr val="4A72B0"/>
                </a:solidFill>
                <a:latin typeface="Fira Sans Light" panose="020B0403050000020004" pitchFamily="34" charset="0"/>
                <a:ea typeface="Fira Sans Light" panose="020B0403050000020004" pitchFamily="34" charset="0"/>
              </a:rPr>
            </a:br>
            <a:r>
              <a:rPr lang="es-CO" altLang="es-CO" sz="3200" b="1" dirty="0">
                <a:solidFill>
                  <a:srgbClr val="1C77BC"/>
                </a:solidFill>
                <a:latin typeface="Fira Sans" panose="020B0403050000020004" pitchFamily="34" charset="0"/>
                <a:ea typeface="Fira Sans" panose="020B0403050000020004" pitchFamily="34" charset="0"/>
              </a:rPr>
              <a:t>Matriz de Riesgos de Cumplimiento</a:t>
            </a:r>
          </a:p>
        </p:txBody>
      </p:sp>
      <p:sp>
        <p:nvSpPr>
          <p:cNvPr id="14" name="Elipse 6">
            <a:extLst>
              <a:ext uri="{FF2B5EF4-FFF2-40B4-BE49-F238E27FC236}">
                <a16:creationId xmlns:a16="http://schemas.microsoft.com/office/drawing/2014/main" id="{5AA7EF4A-4596-6241-B868-24C1A978E617}"/>
              </a:ext>
            </a:extLst>
          </p:cNvPr>
          <p:cNvSpPr/>
          <p:nvPr/>
        </p:nvSpPr>
        <p:spPr>
          <a:xfrm>
            <a:off x="1629445" y="4030458"/>
            <a:ext cx="912717" cy="961644"/>
          </a:xfrm>
          <a:prstGeom prst="ellipse">
            <a:avLst/>
          </a:prstGeom>
          <a:solidFill>
            <a:srgbClr val="01A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/>
          <a:srcRect t="45955"/>
          <a:stretch/>
        </p:blipFill>
        <p:spPr>
          <a:xfrm>
            <a:off x="942803" y="-3016"/>
            <a:ext cx="2286000" cy="119427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/>
          <a:srcRect t="20835" r="36592"/>
          <a:stretch/>
        </p:blipFill>
        <p:spPr>
          <a:xfrm rot="5400000">
            <a:off x="10590511" y="5256799"/>
            <a:ext cx="1344098" cy="1872058"/>
          </a:xfrm>
          <a:prstGeom prst="rect">
            <a:avLst/>
          </a:prstGeom>
        </p:spPr>
      </p:pic>
      <p:sp>
        <p:nvSpPr>
          <p:cNvPr id="9" name="CuadroTexto 19">
            <a:extLst>
              <a:ext uri="{FF2B5EF4-FFF2-40B4-BE49-F238E27FC236}">
                <a16:creationId xmlns:a16="http://schemas.microsoft.com/office/drawing/2014/main" id="{907B525C-DE6F-4D14-AB62-456BEA8EC1D9}"/>
              </a:ext>
            </a:extLst>
          </p:cNvPr>
          <p:cNvSpPr txBox="1"/>
          <p:nvPr/>
        </p:nvSpPr>
        <p:spPr>
          <a:xfrm>
            <a:off x="6274183" y="6088672"/>
            <a:ext cx="38307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>
                <a:solidFill>
                  <a:srgbClr val="1C77BC"/>
                </a:solidFill>
                <a:latin typeface="Fira Sans" panose="020B0403050000020004" pitchFamily="34" charset="0"/>
                <a:cs typeface="+mj-cs"/>
              </a:rPr>
              <a:t>2021 - 2022</a:t>
            </a:r>
          </a:p>
        </p:txBody>
      </p:sp>
    </p:spTree>
    <p:extLst>
      <p:ext uri="{BB962C8B-B14F-4D97-AF65-F5344CB8AC3E}">
        <p14:creationId xmlns:p14="http://schemas.microsoft.com/office/powerpoint/2010/main" val="16567864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34777" y="250124"/>
            <a:ext cx="11287831" cy="47145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Favorecimiento a terceros en la selección de personal.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68759" y="762285"/>
            <a:ext cx="10911166" cy="2693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Favorecer la vinculación de personal sin el cumplimiento de los procedimientos establecidos en beneficio propio o de un tercero.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721192"/>
              </p:ext>
            </p:extLst>
          </p:nvPr>
        </p:nvGraphicFramePr>
        <p:xfrm>
          <a:off x="456509" y="1463181"/>
          <a:ext cx="6816069" cy="341167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272023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93413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550633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61453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731558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1. Selección de personal derivado de intereses privados, trafico de influencias, o pago de soborno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reputacional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Desempeño Corporativo deficiente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endParaRPr lang="es-C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1. Campañas de sensibilización del programa de ética y cumplimiento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  <a:tr h="522906"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3. Diseñar requisitos, especificaciones técnicas y criterios de evaluación para favorecer a  un tercero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2. Segregación de funciones o apoyo en terceros en la evaluación de candidato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3962"/>
                  </a:ext>
                </a:extLst>
              </a:tr>
              <a:tr h="281402"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3. Cumplimiento del procedimiento de selección y contratació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745668"/>
                  </a:ext>
                </a:extLst>
              </a:tr>
              <a:tr h="317145">
                <a:tc rowSpan="2">
                  <a:txBody>
                    <a:bodyPr/>
                    <a:lstStyle/>
                    <a:p>
                      <a:r>
                        <a:rPr lang="es-MX" sz="1200" dirty="0"/>
                        <a:t>3.Divulgar información privilegiada a los participantes del proceso de selección.</a:t>
                      </a:r>
                      <a:endParaRPr lang="es-CO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9174448"/>
                  </a:ext>
                </a:extLst>
              </a:tr>
              <a:tr h="1121453"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4.Diseñar requisitos, especificaciones técnicas y criterios de evaluación para favorecer a  un tercero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200" dirty="0"/>
                        <a:t>4. Aprobación de perfiles de acuerdo a lo establecido en el procedimiento de selecció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3"/>
            <a:endCxn id="216" idx="7"/>
          </p:cNvCxnSpPr>
          <p:nvPr/>
        </p:nvCxnSpPr>
        <p:spPr>
          <a:xfrm flipH="1">
            <a:off x="9421376" y="3403659"/>
            <a:ext cx="375313" cy="422782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9759337" y="317460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2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9206366" y="3789551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2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9759799" y="3188649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2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7628391" y="5270517"/>
          <a:ext cx="4261892" cy="776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0946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130946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189301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456865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Talento Huma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EA21CACB-4FDE-49C2-BE2A-FF679F4D8637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2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0031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0.00509 L -0.04701 0.09051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57" y="425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34777" y="157583"/>
            <a:ext cx="11287831" cy="705941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Negociación inadecuada de derechos reales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42184" y="965921"/>
            <a:ext cx="10911166" cy="23852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100" b="1" i="1" kern="0" dirty="0">
                <a:solidFill>
                  <a:srgbClr val="1F497D"/>
                </a:solidFill>
              </a:rPr>
              <a:t>Negociación  de derechos reales a un valor de mercado más alto en beneficio propio o de un tercero</a:t>
            </a:r>
            <a:endParaRPr lang="es-CO" sz="11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8992775"/>
              </p:ext>
            </p:extLst>
          </p:nvPr>
        </p:nvGraphicFramePr>
        <p:xfrm>
          <a:off x="512759" y="1405322"/>
          <a:ext cx="6534264" cy="20116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10997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445179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57203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582412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No contar con metodología valuatoria vigente  para el pago de servidumbre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érdidas económicas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Imagen y reputación. </a:t>
                      </a:r>
                      <a:endParaRPr lang="es-CO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Cumplimiento del Manual de Gestión de Tierras respecto a la metodología valuatoria vigente (tablas-avalúos)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  <a:tr h="372362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Indebida selección de avaluadore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Capacitar anualmente  al equipo de la Dirección de Gestión de Tierras y contratistas en  el programa de ética y cumplimiento de la compañía.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3962"/>
                  </a:ext>
                </a:extLst>
              </a:tr>
              <a:tr h="477386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3. Falta de integridad y transparencia en colaboradores y contratistas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745668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3"/>
            <a:endCxn id="216" idx="7"/>
          </p:cNvCxnSpPr>
          <p:nvPr/>
        </p:nvCxnSpPr>
        <p:spPr>
          <a:xfrm flipH="1">
            <a:off x="9428525" y="2382672"/>
            <a:ext cx="367702" cy="890998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9759337" y="2188625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3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9213515" y="3236780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3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9759337" y="216766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3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1314781" y="3761704"/>
          <a:ext cx="4431182" cy="9055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242586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585465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Gestión de Tierras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562B2826-B2C8-4C80-B3EC-2F6B1F413D94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3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93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0.00509 L -0.04479 0.1504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40" y="72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11928" y="250770"/>
            <a:ext cx="11809496" cy="60379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Fraude en elaboración del diagnóstico jurídico catastral</a:t>
            </a:r>
          </a:p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- inventario de daños para beneficiar/perjudicar a un tercero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42184" y="859341"/>
            <a:ext cx="10911166" cy="2693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Realizar inventario de daños de predios con inconsistencias en beneficio propio o de un tercero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1510378"/>
              </p:ext>
            </p:extLst>
          </p:nvPr>
        </p:nvGraphicFramePr>
        <p:xfrm>
          <a:off x="468758" y="1387193"/>
          <a:ext cx="6816069" cy="234460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272023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93413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550633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85029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82794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Indebida identificación de propietarios, poseedores, tenedores - ocupante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reputacional.</a:t>
                      </a:r>
                      <a:endParaRPr lang="es-CO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Realizar anualmente  revisión aleatoria  de los DJC (Diagnósticos Jurídicos Catastrales) e inventarios de daños de la Dirección de Gestión de Tierras, el cual debe incluir visita de campo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  <a:tr h="547464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Indebida identificación del predio.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2. Cumplimiento del Manual de Gestión de Tierras respecto a la elaboración del diagnóstico jurídico catastral - inventario de daño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3962"/>
                  </a:ext>
                </a:extLst>
              </a:tr>
              <a:tr h="54746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3. Indebido inventario de los daño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187163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3"/>
          </p:cNvCxnSpPr>
          <p:nvPr/>
        </p:nvCxnSpPr>
        <p:spPr>
          <a:xfrm flipH="1">
            <a:off x="9455524" y="3437258"/>
            <a:ext cx="348786" cy="448576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9759337" y="3208961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4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9195540" y="3811704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4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9767420" y="3222248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4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1792443" y="4361779"/>
          <a:ext cx="4431182" cy="984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08114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664678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 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Gestión de Tierras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Auditoria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36BF33B9-9DA6-4960-BFEB-2C34FAE437C4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4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319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0.00509 L -0.04597 0.0902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05" y="425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396987" y="232011"/>
            <a:ext cx="11455201" cy="81707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Constituir derechos reales con propietarios, poseedores, </a:t>
            </a:r>
          </a:p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tenedores y ocupantes  que puedan afectar la reputación de la Compañía.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11583" y="1097250"/>
            <a:ext cx="10911166" cy="2693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Suscribir  actos o contratos  con personas  con coincidencia en OFAC; ONU, delito fuente LA/FT 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2579440"/>
              </p:ext>
            </p:extLst>
          </p:nvPr>
        </p:nvGraphicFramePr>
        <p:xfrm>
          <a:off x="468759" y="1590134"/>
          <a:ext cx="7168482" cy="34290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89494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096479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682509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75684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2524656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 Ausencia de validación y monitoreo y/o validación incompleta  o errónea en listas de control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reputacional.</a:t>
                      </a:r>
                      <a:endParaRPr lang="es-CO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just">
                        <a:buAutoNum type="arabicPeriod"/>
                      </a:pPr>
                      <a:r>
                        <a:rPr lang="es-MX" sz="1100" dirty="0"/>
                        <a:t>Contar con un tercero especializado en verificación de listas de control que sea consultado por la Dirección de Gestión de Tierras previo a cualquier negociación. Cuando aplique, revisión por parte de las Direcciones de Cumplimento y  la Gerencia Jurídica  de los resultados de las verificaciones en listas de control. - En el evento que exista coincidencia de un titular de derechos reales en listas de control abstenerse de negociar directamente  e iniciar el proceso judicial correspondiente.</a:t>
                      </a:r>
                    </a:p>
                    <a:p>
                      <a:pPr marL="228600" indent="-228600" algn="just">
                        <a:buAutoNum type="arabicPeriod"/>
                      </a:pPr>
                      <a:r>
                        <a:rPr lang="es-MX" sz="1100" dirty="0"/>
                        <a:t>Realizar anualmente un muestreo en listas de control de  titulares de derechos reales de predios que tengan servidumbres a favor de TGI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 flipH="1">
            <a:off x="10450976" y="2923642"/>
            <a:ext cx="12387" cy="1357485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0346387" y="2667481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5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10325026" y="4281127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5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337413" y="267174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5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1664818" y="5479631"/>
          <a:ext cx="4431182" cy="895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238640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575942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Gestión de Tierras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8E5FF7FF-A283-4B54-A4BC-404AC2B2C7C9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5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422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0.00509 L -0.00182 0.232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" y="1136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68758" y="422550"/>
            <a:ext cx="9265386" cy="4572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Pago de derechos inmobiliarios duplicados por la misma</a:t>
            </a:r>
          </a:p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necesidad 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34778" y="1025137"/>
            <a:ext cx="10911166" cy="26930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Generar mas de un pago  por el mismo derecho inmobiliario en beneficio propio  o de un tercero.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010043"/>
              </p:ext>
            </p:extLst>
          </p:nvPr>
        </p:nvGraphicFramePr>
        <p:xfrm>
          <a:off x="468758" y="1387192"/>
          <a:ext cx="7168482" cy="210188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89494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096479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682509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09968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685489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Ausencia de un sistema que integre el inventario de los derechos reales con los pagos efectuados por los mismo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reputacional.</a:t>
                      </a:r>
                      <a:endParaRPr lang="es-CO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just">
                        <a:buAutoNum type="arabicPeriod"/>
                      </a:pPr>
                      <a:r>
                        <a:rPr lang="es-MX" sz="1100" dirty="0"/>
                        <a:t>Implementar un software que integre el inventario de los derechos reales con los pagos efectuados por los mismos (interrelacionados)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069159"/>
                  </a:ext>
                </a:extLst>
              </a:tr>
              <a:tr h="101984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2. No registro del derecho real en el FMI (Folio de Matrícula Inmobiliaria)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z="1100" dirty="0"/>
                        <a:t>2. Condicionar  el último pago del derecho real al registro del mismo en el FMI</a:t>
                      </a:r>
                      <a:endParaRPr lang="es-CO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265546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 flipH="1">
            <a:off x="10450976" y="2908087"/>
            <a:ext cx="25009" cy="1373040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0346387" y="2667481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6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10325026" y="4281127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6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350035" y="2656187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6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1837408" y="4059589"/>
          <a:ext cx="4431182" cy="895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238640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575942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 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Gestión de Tierras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53F101DA-3082-4843-9765-93DF60D6F6C9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6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341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0.00509 L -0.00104 0.232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1136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92387" y="314539"/>
            <a:ext cx="8123820" cy="42205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Favorecimiento a terceros para el desarrollo de proyectos.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42184" y="837264"/>
            <a:ext cx="10911166" cy="46935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Desarrollo de proyectos de inversión social en obras de infraestructura sin el cumplimiento de los requisitos establecidos, en beneficio propio o de un tercero .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980084"/>
              </p:ext>
            </p:extLst>
          </p:nvPr>
        </p:nvGraphicFramePr>
        <p:xfrm>
          <a:off x="629252" y="1590134"/>
          <a:ext cx="6534264" cy="369678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10997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445179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71411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Incumplimiento de los procedimientos en aspectos de inversión social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reputacional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operacional.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menazas contra la Integridad de los funcionario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Cumplimiento del indicador de cierre de pasivos sociale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92964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Falta de lineamientos de inversión social en la toma de decisiones para hacer compromisos con comunidades o grupos de interé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 Creación de procedimiento para la implementación de los planes de inversión social de los proyectos concertada con la GD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735491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3. Inexistencia de lineamientos relacionados con la rotación de los profesionales sociale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r>
                        <a:rPr lang="es-MX" sz="1100" dirty="0"/>
                        <a:t>3. Creación de lineamientos para la rotación y coordinación de profesionales sociales en regió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8269321"/>
                  </a:ext>
                </a:extLst>
              </a:tr>
              <a:tr h="161109"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4. Materialización de situaciones de conflicto de interé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962707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4. Aprobación y divulgación en las regiones de lineamientos de relacionamiento social.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5. Charlas de fortalecimiento del programa de ética y cumplimiento.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359870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endCxn id="216" idx="7"/>
          </p:cNvCxnSpPr>
          <p:nvPr/>
        </p:nvCxnSpPr>
        <p:spPr>
          <a:xfrm flipH="1">
            <a:off x="9974347" y="2471688"/>
            <a:ext cx="839500" cy="812850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0813846" y="2249961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7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9759337" y="3247648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7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813846" y="2250975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7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/>
        </p:nvGraphicFramePr>
        <p:xfrm>
          <a:off x="2219166" y="5474519"/>
          <a:ext cx="4431182" cy="1092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08114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772394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Desarrollo Sostenible.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976437BA-C5E7-443D-8C93-E580FC58B288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7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363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0.00509 L -0.0836 0.1439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180" y="6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Elipse 6">
            <a:extLst>
              <a:ext uri="{FF2B5EF4-FFF2-40B4-BE49-F238E27FC236}">
                <a16:creationId xmlns:a16="http://schemas.microsoft.com/office/drawing/2014/main" id="{5AA7EF4A-4596-6241-B868-24C1A978E617}"/>
              </a:ext>
            </a:extLst>
          </p:cNvPr>
          <p:cNvSpPr/>
          <p:nvPr/>
        </p:nvSpPr>
        <p:spPr>
          <a:xfrm>
            <a:off x="11165888" y="1389922"/>
            <a:ext cx="321887" cy="321887"/>
          </a:xfrm>
          <a:prstGeom prst="ellipse">
            <a:avLst/>
          </a:prstGeom>
          <a:solidFill>
            <a:srgbClr val="01A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0" name="Elipse 14">
            <a:extLst>
              <a:ext uri="{FF2B5EF4-FFF2-40B4-BE49-F238E27FC236}">
                <a16:creationId xmlns:a16="http://schemas.microsoft.com/office/drawing/2014/main" id="{9FF84F37-7800-1541-B958-03A93EEC7FA0}"/>
              </a:ext>
            </a:extLst>
          </p:cNvPr>
          <p:cNvSpPr/>
          <p:nvPr/>
        </p:nvSpPr>
        <p:spPr>
          <a:xfrm>
            <a:off x="872066" y="1146751"/>
            <a:ext cx="5223934" cy="5019737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50" dirty="0"/>
          </a:p>
        </p:txBody>
      </p:sp>
      <p:sp>
        <p:nvSpPr>
          <p:cNvPr id="9" name="Elipse 21">
            <a:extLst>
              <a:ext uri="{FF2B5EF4-FFF2-40B4-BE49-F238E27FC236}">
                <a16:creationId xmlns:a16="http://schemas.microsoft.com/office/drawing/2014/main" id="{FE4329BD-8956-44A8-93C2-587EF0C72A83}"/>
              </a:ext>
            </a:extLst>
          </p:cNvPr>
          <p:cNvSpPr/>
          <p:nvPr/>
        </p:nvSpPr>
        <p:spPr>
          <a:xfrm>
            <a:off x="8597018" y="2395425"/>
            <a:ext cx="3594982" cy="3558266"/>
          </a:xfrm>
          <a:prstGeom prst="ellipse">
            <a:avLst/>
          </a:prstGeom>
          <a:solidFill>
            <a:srgbClr val="01A3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50" dirty="0"/>
          </a:p>
        </p:txBody>
      </p:sp>
      <p:sp>
        <p:nvSpPr>
          <p:cNvPr id="11" name="Rectángulo 22">
            <a:extLst>
              <a:ext uri="{FF2B5EF4-FFF2-40B4-BE49-F238E27FC236}">
                <a16:creationId xmlns:a16="http://schemas.microsoft.com/office/drawing/2014/main" id="{0C783B21-6D46-4AF3-AFDD-A3E9D5644D18}"/>
              </a:ext>
            </a:extLst>
          </p:cNvPr>
          <p:cNvSpPr/>
          <p:nvPr/>
        </p:nvSpPr>
        <p:spPr>
          <a:xfrm>
            <a:off x="7751616" y="4338620"/>
            <a:ext cx="4440384" cy="97227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2" name="CuadroTexto 19">
            <a:extLst>
              <a:ext uri="{FF2B5EF4-FFF2-40B4-BE49-F238E27FC236}">
                <a16:creationId xmlns:a16="http://schemas.microsoft.com/office/drawing/2014/main" id="{B52CEEBC-52A1-4D70-A111-6D3108F9660F}"/>
              </a:ext>
            </a:extLst>
          </p:cNvPr>
          <p:cNvSpPr txBox="1"/>
          <p:nvPr/>
        </p:nvSpPr>
        <p:spPr>
          <a:xfrm>
            <a:off x="7186758" y="3461457"/>
            <a:ext cx="50052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5400" b="1" dirty="0">
                <a:solidFill>
                  <a:schemeClr val="bg1"/>
                </a:solidFill>
                <a:latin typeface="Fira Sans ExtraBold" charset="0"/>
              </a:rPr>
              <a:t>Riesgos</a:t>
            </a:r>
            <a:endParaRPr lang="es-CO" sz="5400" b="1" dirty="0">
              <a:solidFill>
                <a:schemeClr val="bg1"/>
              </a:solidFill>
              <a:latin typeface="Gotham Bold" panose="02000604040000020004" pitchFamily="2" charset="0"/>
            </a:endParaRPr>
          </a:p>
          <a:p>
            <a:pPr algn="r"/>
            <a:r>
              <a:rPr lang="es-CO" sz="5400" b="1" dirty="0">
                <a:solidFill>
                  <a:schemeClr val="bg1"/>
                </a:solidFill>
                <a:latin typeface="Fira Sans Light" charset="0"/>
                <a:ea typeface="Fira Sans Light" charset="0"/>
                <a:cs typeface="Fira Sans Light" charset="0"/>
              </a:rPr>
              <a:t>Transversales</a:t>
            </a:r>
          </a:p>
        </p:txBody>
      </p:sp>
    </p:spTree>
    <p:extLst>
      <p:ext uri="{BB962C8B-B14F-4D97-AF65-F5344CB8AC3E}">
        <p14:creationId xmlns:p14="http://schemas.microsoft.com/office/powerpoint/2010/main" val="29389375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92386" y="314539"/>
            <a:ext cx="10321459" cy="42205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Afectación reputacional de la compañía por LA/FT/FPADM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42184" y="837264"/>
            <a:ext cx="10911166" cy="46935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Afectación reputacional de la Compañía por no contar con las políticas, procedimientos, mecanismos e instrumentos diseñados para prevenir y controlar el Lavado de Activos y la Financiación de Terrorismo y la Financiación Proliferación de Armas de Destrucción Masivas.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0644779"/>
              </p:ext>
            </p:extLst>
          </p:nvPr>
        </p:nvGraphicFramePr>
        <p:xfrm>
          <a:off x="796284" y="1512049"/>
          <a:ext cx="6534264" cy="465979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10997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445179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71411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379894"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Desconocimiento del marco normativo y buenas práctic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Afectación reputacion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 Matriz Legal (Proceso de Cumplimiento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929640">
                <a:tc vMerge="1">
                  <a:txBody>
                    <a:bodyPr/>
                    <a:lstStyle/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 Incluir en el programa anual de capacitaciones, Programa de Ética y Cumplimiento, charlas de LAF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735491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Inexistencia de política y/o procedimiento asociado a SIP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r>
                        <a:rPr lang="es-MX" sz="1100" dirty="0"/>
                        <a:t>3. Documentación de políticas y procedimientos SIPLA</a:t>
                      </a:r>
                    </a:p>
                    <a:p>
                      <a:endParaRPr lang="es-MX" sz="1100" dirty="0"/>
                    </a:p>
                    <a:p>
                      <a:r>
                        <a:rPr lang="es-MX" sz="1100" dirty="0"/>
                        <a:t>4. Implementación de procedimiento P-GEG-019 Verificación Listas de Control Rev.2</a:t>
                      </a:r>
                    </a:p>
                    <a:p>
                      <a:endParaRPr lang="es-MX" sz="1100" dirty="0"/>
                    </a:p>
                    <a:p>
                      <a:r>
                        <a:rPr lang="es-MX" sz="1100" dirty="0"/>
                        <a:t>5. Verificaciones masivas en listas de control (Colaboradores, administradores, proveedores y cliente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8269321"/>
                  </a:ext>
                </a:extLst>
              </a:tr>
              <a:tr h="161109"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3. Incumplimiento de los procedimientos de LAFT/FPAD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s-CO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962707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6. Auditorías internas y extern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359870"/>
                  </a:ext>
                </a:extLst>
              </a:tr>
              <a:tr h="261620"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4. No contar con los equipos de trabajo humano y técnico que permita cumplir las funciones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40198"/>
                  </a:ext>
                </a:extLst>
              </a:tr>
              <a:tr h="33274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7. Contrato corporativo para el SIPLA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100" dirty="0"/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8. Herramienta de verificación en listas de contr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33005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stCxn id="217" idx="4"/>
            <a:endCxn id="216" idx="0"/>
          </p:cNvCxnSpPr>
          <p:nvPr/>
        </p:nvCxnSpPr>
        <p:spPr>
          <a:xfrm flipH="1">
            <a:off x="10939795" y="3440739"/>
            <a:ext cx="22927" cy="859227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0836772" y="3191905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8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10813845" y="4299966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8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836772" y="3188839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8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647077"/>
              </p:ext>
            </p:extLst>
          </p:nvPr>
        </p:nvGraphicFramePr>
        <p:xfrm>
          <a:off x="7543746" y="5270137"/>
          <a:ext cx="4431182" cy="1092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08114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772394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Auditoria Intern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F61AEA79-6EEF-4C11-BA66-B708B2A627AA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8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241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3.7037E-6 L -0.08581 0.091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97" y="456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58325" y="291047"/>
            <a:ext cx="10911166" cy="42205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Incumplimiento normativo para la prevención del Soborno Transnacional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442184" y="837264"/>
            <a:ext cx="10911166" cy="46935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300" b="1" i="1" kern="0" dirty="0">
                <a:solidFill>
                  <a:srgbClr val="1F497D"/>
                </a:solidFill>
              </a:rPr>
              <a:t>Prometer u ofrecer a servidor público en provecho de este o de un tercero sumas de dinero, cualquier objeto de valor u otro beneficio o utilidad a cambio de que éste realice, omita o retarde cualquier acto relacionado con el ejercicio de sus funciones, en relación con un negocio o actividad de la Compañía.</a:t>
            </a:r>
            <a:endParaRPr lang="es-CO" sz="13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214330"/>
              </p:ext>
            </p:extLst>
          </p:nvPr>
        </p:nvGraphicFramePr>
        <p:xfrm>
          <a:off x="825293" y="1430785"/>
          <a:ext cx="6534264" cy="38709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78088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1910997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445179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271411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1. Desconocimiento del marco normativo y buenas prácticas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Multas hasta 200.000 SMLMV (ley 1778 de 2016).</a:t>
                      </a:r>
                    </a:p>
                    <a:p>
                      <a:pPr marL="228600" indent="-228600">
                        <a:buAutoNum type="arabicPeriod"/>
                      </a:pPr>
                      <a:endParaRPr lang="es-MX" sz="110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Penas privativas de la libertad hasta por 15 años (Art. 433 ley 599 de 2000).</a:t>
                      </a:r>
                    </a:p>
                    <a:p>
                      <a:pPr marL="228600" indent="-228600">
                        <a:buAutoNum type="arabicPeriod"/>
                      </a:pPr>
                      <a:endParaRPr lang="es-MX" sz="110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100" dirty="0"/>
                        <a:t>Inhabilidad para el ejercicio del derecho y funciones publica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 Matriz de requisitos Legales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92964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Inexistencia o incumplimiento de las políticas y lineamientos internos para el relacionamiento con entes del gobierno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2. Establecer y cumplir los lineamientos de relacionamiento con funcionarios públicos y pagos por facilitación (Código de ética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735491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3. Bajos estándares y/o débil cultura de ética, transparencia e integridad por parte de los colaboradores 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r>
                        <a:rPr lang="es-MX" sz="1100" dirty="0"/>
                        <a:t>3. Capacitaciones para el fortalecimiento de la Cultura de Transparenc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8269321"/>
                  </a:ext>
                </a:extLst>
              </a:tr>
              <a:tr h="161109"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4. No se tienen claramente definidas las sanciones disciplinarias a los empleados por incumplimiento del Programa de Ética y Cumplimiento </a:t>
                      </a:r>
                    </a:p>
                    <a:p>
                      <a:pPr marL="0" indent="0" algn="just">
                        <a:buNone/>
                      </a:pP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962707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buNone/>
                      </a:pPr>
                      <a:r>
                        <a:rPr lang="es-MX" sz="1100" dirty="0"/>
                        <a:t>4. Incluir en el Reglamento Interno de Trabajo sanciones especificas por el incumplimiento del Programa de Ética y Cumplimi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359870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280345" y="1851907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99834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919797" y="4762698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900128" y="4759025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616207" y="4772691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487335" y="1387193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643141" y="3026768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</p:cNvCxnSpPr>
          <p:nvPr/>
        </p:nvCxnSpPr>
        <p:spPr>
          <a:xfrm flipH="1">
            <a:off x="10972163" y="3016766"/>
            <a:ext cx="10118" cy="1308451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0846213" y="271398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9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10846213" y="433759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9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856331" y="2728158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9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15653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06091" y="375331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25215" y="405232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811760"/>
              </p:ext>
            </p:extLst>
          </p:nvPr>
        </p:nvGraphicFramePr>
        <p:xfrm>
          <a:off x="7609408" y="5433714"/>
          <a:ext cx="4431182" cy="1092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591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5591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08114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772394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Dirección de Cumplimiento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100" dirty="0"/>
                        <a:t>Gerencia de Gestión del Talent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44" name="Título 1">
            <a:extLst>
              <a:ext uri="{FF2B5EF4-FFF2-40B4-BE49-F238E27FC236}">
                <a16:creationId xmlns:a16="http://schemas.microsoft.com/office/drawing/2014/main" id="{B0FBF9B6-D049-439B-BB42-82232A7AEEB3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859291" cy="513814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9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760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0.00509 L -0.09622 0.0763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818" y="356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uadroTexto 20">
            <a:extLst>
              <a:ext uri="{FF2B5EF4-FFF2-40B4-BE49-F238E27FC236}">
                <a16:creationId xmlns:a16="http://schemas.microsoft.com/office/drawing/2014/main" id="{8DEC168E-9C42-834A-8267-FA227E0D467D}"/>
              </a:ext>
            </a:extLst>
          </p:cNvPr>
          <p:cNvSpPr txBox="1"/>
          <p:nvPr/>
        </p:nvSpPr>
        <p:spPr>
          <a:xfrm>
            <a:off x="6758383" y="1378752"/>
            <a:ext cx="500996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dirty="0">
                <a:latin typeface="Fira Sans Light" charset="0"/>
                <a:ea typeface="Fira Sans Light" charset="0"/>
                <a:cs typeface="Arial" panose="020B0604020202020204" pitchFamily="34" charset="0"/>
              </a:rPr>
              <a:t>Identificar los riesgos de fraude, corrupción, soborno y LA/FT/FPADM en procesos claves de la empresa y establecer mecanismos  de control. En TGI actuamos con transparencia y asumimos una posición de “cero tolerancia” al fraude y corrupción.</a:t>
            </a:r>
            <a:endParaRPr lang="es-CO" dirty="0">
              <a:latin typeface="Fira Sans Light" charset="0"/>
              <a:ea typeface="Fira Sans Light" charset="0"/>
              <a:cs typeface="Arial" panose="020B0604020202020204" pitchFamily="34" charset="0"/>
            </a:endParaRPr>
          </a:p>
        </p:txBody>
      </p:sp>
      <p:sp>
        <p:nvSpPr>
          <p:cNvPr id="8" name="Elipse 6">
            <a:extLst>
              <a:ext uri="{FF2B5EF4-FFF2-40B4-BE49-F238E27FC236}">
                <a16:creationId xmlns:a16="http://schemas.microsoft.com/office/drawing/2014/main" id="{5AA7EF4A-4596-6241-B868-24C1A978E617}"/>
              </a:ext>
            </a:extLst>
          </p:cNvPr>
          <p:cNvSpPr/>
          <p:nvPr/>
        </p:nvSpPr>
        <p:spPr>
          <a:xfrm>
            <a:off x="9604244" y="584306"/>
            <a:ext cx="193907" cy="193907"/>
          </a:xfrm>
          <a:prstGeom prst="ellipse">
            <a:avLst/>
          </a:prstGeom>
          <a:solidFill>
            <a:srgbClr val="1E70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40" r="32593"/>
          <a:stretch/>
        </p:blipFill>
        <p:spPr>
          <a:xfrm>
            <a:off x="0" y="0"/>
            <a:ext cx="5757333" cy="6858000"/>
          </a:xfrm>
          <a:prstGeom prst="rect">
            <a:avLst/>
          </a:prstGeom>
        </p:spPr>
      </p:pic>
      <p:sp>
        <p:nvSpPr>
          <p:cNvPr id="11" name="CuadroTexto 19">
            <a:extLst>
              <a:ext uri="{FF2B5EF4-FFF2-40B4-BE49-F238E27FC236}">
                <a16:creationId xmlns:a16="http://schemas.microsoft.com/office/drawing/2014/main" id="{ABA69903-B546-F74F-B854-0B28C05D2B42}"/>
              </a:ext>
            </a:extLst>
          </p:cNvPr>
          <p:cNvSpPr txBox="1"/>
          <p:nvPr/>
        </p:nvSpPr>
        <p:spPr>
          <a:xfrm>
            <a:off x="6848616" y="304680"/>
            <a:ext cx="32761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>
                <a:solidFill>
                  <a:srgbClr val="1E70B8"/>
                </a:solidFill>
                <a:latin typeface="Fira Sans ExtraBold" charset="0"/>
                <a:ea typeface="Fira Sans ExtraBold" charset="0"/>
                <a:cs typeface="Fira Sans ExtraBold" charset="0"/>
              </a:rPr>
              <a:t>Objetivo y Alcance</a:t>
            </a:r>
            <a:endParaRPr lang="es-CO" sz="3200" dirty="0">
              <a:solidFill>
                <a:schemeClr val="tx1">
                  <a:lumMod val="95000"/>
                  <a:lumOff val="5000"/>
                </a:schemeClr>
              </a:solidFill>
              <a:latin typeface="Fira Sans Light" charset="0"/>
              <a:ea typeface="Fira Sans Light" charset="0"/>
              <a:cs typeface="Fira Sans Light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/>
          <a:srcRect t="45955"/>
          <a:stretch/>
        </p:blipFill>
        <p:spPr>
          <a:xfrm rot="16200000">
            <a:off x="5160308" y="931955"/>
            <a:ext cx="2371467" cy="824683"/>
          </a:xfrm>
          <a:prstGeom prst="rect">
            <a:avLst/>
          </a:prstGeom>
        </p:spPr>
      </p:pic>
      <p:sp>
        <p:nvSpPr>
          <p:cNvPr id="13" name="Elipse 6">
            <a:extLst>
              <a:ext uri="{FF2B5EF4-FFF2-40B4-BE49-F238E27FC236}">
                <a16:creationId xmlns:a16="http://schemas.microsoft.com/office/drawing/2014/main" id="{5AA7EF4A-4596-6241-B868-24C1A978E617}"/>
              </a:ext>
            </a:extLst>
          </p:cNvPr>
          <p:cNvSpPr/>
          <p:nvPr/>
        </p:nvSpPr>
        <p:spPr>
          <a:xfrm>
            <a:off x="5021642" y="2011728"/>
            <a:ext cx="999735" cy="999735"/>
          </a:xfrm>
          <a:prstGeom prst="ellipse">
            <a:avLst/>
          </a:prstGeom>
          <a:solidFill>
            <a:srgbClr val="B1C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5" name="Elipse 9">
            <a:extLst>
              <a:ext uri="{FF2B5EF4-FFF2-40B4-BE49-F238E27FC236}">
                <a16:creationId xmlns:a16="http://schemas.microsoft.com/office/drawing/2014/main" id="{A21884BD-E348-7447-8F2A-C29F9A821196}"/>
              </a:ext>
            </a:extLst>
          </p:cNvPr>
          <p:cNvSpPr/>
          <p:nvPr/>
        </p:nvSpPr>
        <p:spPr>
          <a:xfrm>
            <a:off x="267150" y="5738278"/>
            <a:ext cx="931836" cy="892198"/>
          </a:xfrm>
          <a:prstGeom prst="ellipse">
            <a:avLst/>
          </a:prstGeom>
          <a:solidFill>
            <a:srgbClr val="009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0" name="CuadroTexto 20">
            <a:extLst>
              <a:ext uri="{FF2B5EF4-FFF2-40B4-BE49-F238E27FC236}">
                <a16:creationId xmlns:a16="http://schemas.microsoft.com/office/drawing/2014/main" id="{548B67A8-78F7-4AED-B4FA-0AE3DF54819B}"/>
              </a:ext>
            </a:extLst>
          </p:cNvPr>
          <p:cNvSpPr txBox="1"/>
          <p:nvPr/>
        </p:nvSpPr>
        <p:spPr>
          <a:xfrm>
            <a:off x="6391427" y="3221423"/>
            <a:ext cx="520917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Procesos Claves:</a:t>
            </a:r>
          </a:p>
          <a:p>
            <a:pPr algn="just"/>
            <a:endParaRPr lang="es-MX" sz="800" dirty="0">
              <a:latin typeface="Fira Sans Light" charset="0"/>
              <a:ea typeface="Fira Sans Light" charset="0"/>
              <a:cs typeface="Fira Sans Light" charset="0"/>
            </a:endParaRP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Financiera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de Abastecimiento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de Servicios Administrativos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Comercial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de Proyectos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del Talento Humano 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Coordinación de Operación y Transporte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Gestión del Mantenimiento de la Infraestructura.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de Tierras.</a:t>
            </a:r>
          </a:p>
          <a:p>
            <a:pPr algn="just"/>
            <a:r>
              <a:rPr lang="es-MX" dirty="0">
                <a:latin typeface="Fira Sans Light" charset="0"/>
                <a:ea typeface="Fira Sans Light" charset="0"/>
                <a:cs typeface="Fira Sans Light" charset="0"/>
              </a:rPr>
              <a:t>• Gestión Social y Ambiental.</a:t>
            </a:r>
          </a:p>
        </p:txBody>
      </p:sp>
    </p:spTree>
    <p:extLst>
      <p:ext uri="{BB962C8B-B14F-4D97-AF65-F5344CB8AC3E}">
        <p14:creationId xmlns:p14="http://schemas.microsoft.com/office/powerpoint/2010/main" val="149798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30" r="-839"/>
          <a:stretch/>
        </p:blipFill>
        <p:spPr>
          <a:xfrm>
            <a:off x="-4197" y="0"/>
            <a:ext cx="12331664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97" y="20524"/>
            <a:ext cx="12192000" cy="6858000"/>
          </a:xfrm>
          <a:prstGeom prst="rect">
            <a:avLst/>
          </a:prstGeom>
        </p:spPr>
      </p:pic>
      <p:sp>
        <p:nvSpPr>
          <p:cNvPr id="15" name="Elipse 25">
            <a:extLst>
              <a:ext uri="{FF2B5EF4-FFF2-40B4-BE49-F238E27FC236}">
                <a16:creationId xmlns:a16="http://schemas.microsoft.com/office/drawing/2014/main" id="{020E950E-786F-824D-B557-CA1927B2896C}"/>
              </a:ext>
            </a:extLst>
          </p:cNvPr>
          <p:cNvSpPr/>
          <p:nvPr/>
        </p:nvSpPr>
        <p:spPr>
          <a:xfrm>
            <a:off x="1278916" y="1028700"/>
            <a:ext cx="5426684" cy="5422900"/>
          </a:xfrm>
          <a:prstGeom prst="ellipse">
            <a:avLst/>
          </a:prstGeom>
          <a:solidFill>
            <a:srgbClr val="009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6" name="Elipse 9">
            <a:extLst>
              <a:ext uri="{FF2B5EF4-FFF2-40B4-BE49-F238E27FC236}">
                <a16:creationId xmlns:a16="http://schemas.microsoft.com/office/drawing/2014/main" id="{A21884BD-E348-7447-8F2A-C29F9A821196}"/>
              </a:ext>
            </a:extLst>
          </p:cNvPr>
          <p:cNvSpPr/>
          <p:nvPr/>
        </p:nvSpPr>
        <p:spPr>
          <a:xfrm>
            <a:off x="4387974" y="2682284"/>
            <a:ext cx="1229661" cy="1177354"/>
          </a:xfrm>
          <a:prstGeom prst="ellipse">
            <a:avLst/>
          </a:prstGeom>
          <a:solidFill>
            <a:srgbClr val="2376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7" name="CuadroTexto 19">
            <a:extLst>
              <a:ext uri="{FF2B5EF4-FFF2-40B4-BE49-F238E27FC236}">
                <a16:creationId xmlns:a16="http://schemas.microsoft.com/office/drawing/2014/main" id="{ABA69903-B546-F74F-B854-0B28C05D2B42}"/>
              </a:ext>
            </a:extLst>
          </p:cNvPr>
          <p:cNvSpPr txBox="1"/>
          <p:nvPr/>
        </p:nvSpPr>
        <p:spPr>
          <a:xfrm>
            <a:off x="1589633" y="2066689"/>
            <a:ext cx="4931384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5000" b="1" dirty="0">
                <a:solidFill>
                  <a:schemeClr val="bg1"/>
                </a:solidFill>
                <a:latin typeface="Fira Sans ExtraBold" charset="0"/>
                <a:ea typeface="Fira Sans Light" charset="0"/>
                <a:cs typeface="Fira Sans Light" charset="0"/>
              </a:rPr>
              <a:t>Matriz</a:t>
            </a:r>
            <a:r>
              <a:rPr lang="es-CO" sz="5000" b="1" dirty="0">
                <a:solidFill>
                  <a:schemeClr val="bg1"/>
                </a:solidFill>
                <a:latin typeface="Fira Sans ExtraBold" charset="0"/>
                <a:ea typeface="Fira Sans Light" charset="0"/>
                <a:cs typeface="Fira Sans Light" charset="0"/>
              </a:rPr>
              <a:t> de Riesgos de Cumplimiento en Procesos Críticos</a:t>
            </a:r>
            <a:endParaRPr lang="es-CO" sz="5000" dirty="0">
              <a:solidFill>
                <a:schemeClr val="bg1"/>
              </a:solidFill>
              <a:latin typeface="Fira Sans Light" charset="0"/>
              <a:ea typeface="Fira Sans Light" charset="0"/>
              <a:cs typeface="Fira Sans Light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/>
          <a:srcRect t="45955"/>
          <a:stretch/>
        </p:blipFill>
        <p:spPr>
          <a:xfrm rot="16200000">
            <a:off x="-726561" y="4548682"/>
            <a:ext cx="3042756" cy="1589631"/>
          </a:xfrm>
          <a:prstGeom prst="rect">
            <a:avLst/>
          </a:prstGeom>
        </p:spPr>
      </p:pic>
      <p:sp>
        <p:nvSpPr>
          <p:cNvPr id="13" name="Elipse 25">
            <a:extLst>
              <a:ext uri="{FF2B5EF4-FFF2-40B4-BE49-F238E27FC236}">
                <a16:creationId xmlns:a16="http://schemas.microsoft.com/office/drawing/2014/main" id="{020E950E-786F-824D-B557-CA1927B2896C}"/>
              </a:ext>
            </a:extLst>
          </p:cNvPr>
          <p:cNvSpPr/>
          <p:nvPr/>
        </p:nvSpPr>
        <p:spPr>
          <a:xfrm flipV="1">
            <a:off x="794817" y="539620"/>
            <a:ext cx="1208579" cy="1162720"/>
          </a:xfrm>
          <a:prstGeom prst="ellipse">
            <a:avLst/>
          </a:prstGeom>
          <a:solidFill>
            <a:srgbClr val="2AA9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8" name="Elipse 9">
            <a:extLst>
              <a:ext uri="{FF2B5EF4-FFF2-40B4-BE49-F238E27FC236}">
                <a16:creationId xmlns:a16="http://schemas.microsoft.com/office/drawing/2014/main" id="{A21884BD-E348-7447-8F2A-C29F9A821196}"/>
              </a:ext>
            </a:extLst>
          </p:cNvPr>
          <p:cNvSpPr/>
          <p:nvPr/>
        </p:nvSpPr>
        <p:spPr>
          <a:xfrm>
            <a:off x="1688442" y="1400783"/>
            <a:ext cx="314954" cy="301557"/>
          </a:xfrm>
          <a:prstGeom prst="ellipse">
            <a:avLst/>
          </a:prstGeom>
          <a:solidFill>
            <a:srgbClr val="2376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</p:spTree>
    <p:extLst>
      <p:ext uri="{BB962C8B-B14F-4D97-AF65-F5344CB8AC3E}">
        <p14:creationId xmlns:p14="http://schemas.microsoft.com/office/powerpoint/2010/main" val="35865127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11" b="16809"/>
          <a:stretch/>
        </p:blipFill>
        <p:spPr>
          <a:xfrm>
            <a:off x="-1" y="0"/>
            <a:ext cx="12198591" cy="46757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11" b="16809"/>
          <a:stretch/>
        </p:blipFill>
        <p:spPr>
          <a:xfrm>
            <a:off x="0" y="3016"/>
            <a:ext cx="12198591" cy="4675762"/>
          </a:xfrm>
          <a:prstGeom prst="rect">
            <a:avLst/>
          </a:prstGeom>
        </p:spPr>
      </p:pic>
      <p:pic>
        <p:nvPicPr>
          <p:cNvPr id="8" name="Imagen 9">
            <a:extLst>
              <a:ext uri="{FF2B5EF4-FFF2-40B4-BE49-F238E27FC236}">
                <a16:creationId xmlns:a16="http://schemas.microsoft.com/office/drawing/2014/main" id="{C0AC525A-C138-4E40-A2CC-B28A2C0B4D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9668" t="16791" b="10648"/>
          <a:stretch/>
        </p:blipFill>
        <p:spPr>
          <a:xfrm rot="5400000" flipH="1" flipV="1">
            <a:off x="1173779" y="2731607"/>
            <a:ext cx="771882" cy="311944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21" y="4995118"/>
            <a:ext cx="3392969" cy="1385942"/>
          </a:xfrm>
          <a:prstGeom prst="rect">
            <a:avLst/>
          </a:prstGeom>
        </p:spPr>
      </p:pic>
      <p:sp>
        <p:nvSpPr>
          <p:cNvPr id="12" name="Título 1"/>
          <p:cNvSpPr txBox="1">
            <a:spLocks/>
          </p:cNvSpPr>
          <p:nvPr/>
        </p:nvSpPr>
        <p:spPr>
          <a:xfrm>
            <a:off x="4946658" y="5174312"/>
            <a:ext cx="5379873" cy="68690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s-CO" altLang="es-CO" sz="2800" dirty="0">
                <a:solidFill>
                  <a:srgbClr val="4A72B0"/>
                </a:solidFill>
                <a:latin typeface="Fira Sans Light" panose="020B0403050000020004" pitchFamily="34" charset="0"/>
                <a:ea typeface="Fira Sans Light" panose="020B0403050000020004" pitchFamily="34" charset="0"/>
              </a:rPr>
            </a:br>
            <a:br>
              <a:rPr lang="es-CO" altLang="es-CO" sz="3200" dirty="0">
                <a:solidFill>
                  <a:srgbClr val="4A72B0"/>
                </a:solidFill>
                <a:latin typeface="Fira Sans Light" panose="020B0403050000020004" pitchFamily="34" charset="0"/>
                <a:ea typeface="Fira Sans Light" panose="020B0403050000020004" pitchFamily="34" charset="0"/>
              </a:rPr>
            </a:br>
            <a:r>
              <a:rPr lang="es-CO" altLang="es-CO" sz="3200" b="1" dirty="0">
                <a:solidFill>
                  <a:srgbClr val="1C77BC"/>
                </a:solidFill>
                <a:latin typeface="Fira Sans" panose="020B0403050000020004" pitchFamily="34" charset="0"/>
                <a:ea typeface="Fira Sans" panose="020B0403050000020004" pitchFamily="34" charset="0"/>
              </a:rPr>
              <a:t>Proceso: Gestión Financiera</a:t>
            </a:r>
            <a:endParaRPr lang="es-ES_tradnl" sz="3600" b="1" dirty="0">
              <a:solidFill>
                <a:srgbClr val="1C77BC"/>
              </a:solidFill>
              <a:latin typeface="Fira Sans ExtraLight" panose="020B0403050000020004" pitchFamily="34" charset="0"/>
              <a:ea typeface="Fira Sans ExtraLight" panose="020B0403050000020004" pitchFamily="34" charset="0"/>
            </a:endParaRPr>
          </a:p>
        </p:txBody>
      </p:sp>
      <p:sp>
        <p:nvSpPr>
          <p:cNvPr id="14" name="Elipse 6">
            <a:extLst>
              <a:ext uri="{FF2B5EF4-FFF2-40B4-BE49-F238E27FC236}">
                <a16:creationId xmlns:a16="http://schemas.microsoft.com/office/drawing/2014/main" id="{5AA7EF4A-4596-6241-B868-24C1A978E617}"/>
              </a:ext>
            </a:extLst>
          </p:cNvPr>
          <p:cNvSpPr/>
          <p:nvPr/>
        </p:nvSpPr>
        <p:spPr>
          <a:xfrm>
            <a:off x="1629445" y="4030458"/>
            <a:ext cx="912717" cy="961644"/>
          </a:xfrm>
          <a:prstGeom prst="ellipse">
            <a:avLst/>
          </a:prstGeom>
          <a:solidFill>
            <a:srgbClr val="01A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/>
          <a:srcRect t="45955"/>
          <a:stretch/>
        </p:blipFill>
        <p:spPr>
          <a:xfrm>
            <a:off x="942803" y="-3016"/>
            <a:ext cx="2286000" cy="119427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/>
          <a:srcRect t="20835" r="36592"/>
          <a:stretch/>
        </p:blipFill>
        <p:spPr>
          <a:xfrm rot="5400000">
            <a:off x="10590511" y="5256799"/>
            <a:ext cx="1344098" cy="187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841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360220" y="332101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250658" y="302200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469782" y="332101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592600" y="767059"/>
            <a:ext cx="11239825" cy="623248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200" b="1" i="1" kern="0" dirty="0">
                <a:solidFill>
                  <a:srgbClr val="1F497D"/>
                </a:solidFill>
              </a:rPr>
              <a:t>Acto intencional por parte de uno o más  administradores y/o colaboradores que da como resultado una presentación errónea de los estados financieros implicando falsificación o alteración de registros o documentos, supresión u omisión de los efectos de transacciones en los registros o documentos, registro de transacciones sin soporte  e indebida aplicación de políticas contables.</a:t>
            </a:r>
            <a:endParaRPr lang="es-CO" sz="1200" b="1" i="1" kern="0" dirty="0">
              <a:solidFill>
                <a:srgbClr val="1F497D"/>
              </a:solidFill>
            </a:endParaRPr>
          </a:p>
        </p:txBody>
      </p:sp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613326" y="155286"/>
            <a:ext cx="7466783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Alteración de las cifras en los  estados financieros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9499447"/>
              </p:ext>
            </p:extLst>
          </p:nvPr>
        </p:nvGraphicFramePr>
        <p:xfrm>
          <a:off x="839465" y="1534996"/>
          <a:ext cx="6034551" cy="385647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11517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011517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011517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384993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1094045">
                <a:tc>
                  <a:txBody>
                    <a:bodyPr/>
                    <a:lstStyle/>
                    <a:p>
                      <a:r>
                        <a:rPr lang="es-MX" sz="1200" dirty="0"/>
                        <a:t>1. Registros contables inadecuado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fectación de la imagen y reputación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Impacto negativo en la calificación de la empresa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érdidas económicas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Sanción por las autoridades de control.</a:t>
                      </a:r>
                      <a:endParaRPr lang="es-C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MX" sz="1200" dirty="0"/>
                        <a:t>1. Emisión de los estados financieros por parte del Director de Contabilidad al Vicepresidente Financiero. (correo electrónico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547023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dirty="0"/>
                        <a:t>2. No verificación de la información por parte de los responsables. </a:t>
                      </a:r>
                      <a:endParaRPr lang="es-C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MX" sz="1200" dirty="0"/>
                        <a:t>2. Revisión y aprobación del cierre contable por parte del Director de Contabilidad  remitido al Vicepresidente Financiero vía correo </a:t>
                      </a:r>
                      <a:r>
                        <a:rPr lang="es-MX" sz="1200" dirty="0">
                          <a:solidFill>
                            <a:schemeClr val="tx1"/>
                          </a:solidFill>
                        </a:rPr>
                        <a:t>electrónico, y presentación al Comité Financiero de la Junta Directiva y/o Junta Directiv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630388"/>
                  </a:ext>
                </a:extLst>
              </a:tr>
              <a:tr h="547023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dirty="0">
                          <a:solidFill>
                            <a:schemeClr val="tx1"/>
                          </a:solidFill>
                        </a:rPr>
                        <a:t>3. Auditoría a los Estados Financieros anuales y emisión del Informe por parte del Revisor Fisc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691295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006123" y="2059326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116489" y="4944067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836452" y="4947740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770987" y="4966414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487066" y="4980080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213113" y="1576324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368919" y="3234187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sp>
        <p:nvSpPr>
          <p:cNvPr id="215" name="Oval 48">
            <a:extLst>
              <a:ext uri="{FF2B5EF4-FFF2-40B4-BE49-F238E27FC236}">
                <a16:creationId xmlns:a16="http://schemas.microsoft.com/office/drawing/2014/main" id="{4FDDF59C-A590-4A7E-8360-2FFCE4FE1FFC}"/>
              </a:ext>
            </a:extLst>
          </p:cNvPr>
          <p:cNvSpPr/>
          <p:nvPr/>
        </p:nvSpPr>
        <p:spPr>
          <a:xfrm>
            <a:off x="10020489" y="3913994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</p:cNvCxnSpPr>
          <p:nvPr/>
        </p:nvCxnSpPr>
        <p:spPr>
          <a:xfrm flipH="1">
            <a:off x="9233422" y="4013678"/>
            <a:ext cx="863555" cy="0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019332" y="3913994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graphicFrame>
        <p:nvGraphicFramePr>
          <p:cNvPr id="13" name="Tabla 12">
            <a:extLst>
              <a:ext uri="{FF2B5EF4-FFF2-40B4-BE49-F238E27FC236}">
                <a16:creationId xmlns:a16="http://schemas.microsoft.com/office/drawing/2014/main" id="{CA6290A9-523E-43B3-87AA-A0044630EC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593340"/>
              </p:ext>
            </p:extLst>
          </p:nvPr>
        </p:nvGraphicFramePr>
        <p:xfrm>
          <a:off x="7454031" y="5489778"/>
          <a:ext cx="4422336" cy="82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68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211168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cepresidente Financiero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8974199" y="3913994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1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44" name="Título 1">
            <a:extLst>
              <a:ext uri="{FF2B5EF4-FFF2-40B4-BE49-F238E27FC236}">
                <a16:creationId xmlns:a16="http://schemas.microsoft.com/office/drawing/2014/main" id="{144F92D7-5644-4140-B028-C81B7BEA6A12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1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573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3.7037E-7 L -0.0845 0.0002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32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  <p:bldP spid="2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613326" y="324738"/>
            <a:ext cx="9438008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0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Administración inadecuada de recursos financieros en beneficio propio </a:t>
            </a:r>
          </a:p>
          <a:p>
            <a:pPr algn="l"/>
            <a:r>
              <a:rPr lang="es-MX" altLang="es-CO" sz="20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o de un tercero</a:t>
            </a:r>
            <a:endParaRPr lang="es-CO" altLang="es-CO" sz="20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360220" y="243613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250658" y="213712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469782" y="243613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354621" y="968166"/>
            <a:ext cx="10911166" cy="438582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200" b="1" i="1" kern="0" dirty="0">
                <a:solidFill>
                  <a:srgbClr val="1F497D"/>
                </a:solidFill>
              </a:rPr>
              <a:t>Acto intencional de administradores o colaboradores para la desviación de recursos, pagos  inadecuados a terceros y gastos no justificados con el   fin de obtener un beneficio propio o de un tercero</a:t>
            </a:r>
            <a:endParaRPr lang="es-CO" sz="12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2859680"/>
              </p:ext>
            </p:extLst>
          </p:nvPr>
        </p:nvGraphicFramePr>
        <p:xfrm>
          <a:off x="592841" y="1521026"/>
          <a:ext cx="6157626" cy="39776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52542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052542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052542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196115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618411">
                <a:tc>
                  <a:txBody>
                    <a:bodyPr/>
                    <a:lstStyle/>
                    <a:p>
                      <a:pPr algn="just"/>
                      <a:r>
                        <a:rPr lang="es-MX" sz="1200" dirty="0"/>
                        <a:t>1. Ausencia o inadecuado seguimiento  a los registros de gastos o ingresos financieros asociados a las cuentas bancaria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28600" indent="-228600" algn="ctr">
                        <a:buAutoNum type="arabicPeriod"/>
                      </a:pPr>
                      <a:r>
                        <a:rPr lang="es-CO" sz="1200" dirty="0"/>
                        <a:t>Pérdidas económicas</a:t>
                      </a:r>
                    </a:p>
                    <a:p>
                      <a:pPr marL="228600" indent="-228600" algn="ctr">
                        <a:buAutoNum type="arabicPeriod"/>
                      </a:pPr>
                      <a:r>
                        <a:rPr lang="es-CO" sz="1200" dirty="0"/>
                        <a:t>Imagen y reputació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MX" sz="1200" dirty="0"/>
                        <a:t>1.Conciliación Bancaria.</a:t>
                      </a:r>
                    </a:p>
                    <a:p>
                      <a:pPr algn="just"/>
                      <a:r>
                        <a:rPr lang="es-MX" sz="1200" dirty="0"/>
                        <a:t>2. Circularización del estado de cuenta con el cliente semestralmen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754461">
                <a:tc>
                  <a:txBody>
                    <a:bodyPr/>
                    <a:lstStyle/>
                    <a:p>
                      <a:pPr algn="just"/>
                      <a:r>
                        <a:rPr lang="es-MX" sz="1200" dirty="0"/>
                        <a:t>2. Inadecuado control y seguimiento sobre las firmas de los colaboradores autorizados para realizar transacciones con entidades financiera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MX" sz="1200" dirty="0"/>
                        <a:t>3. Designación de autorizados por parte del representante legal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630388"/>
                  </a:ext>
                </a:extLst>
              </a:tr>
              <a:tr h="482360">
                <a:tc>
                  <a:txBody>
                    <a:bodyPr/>
                    <a:lstStyle/>
                    <a:p>
                      <a:r>
                        <a:rPr lang="es-MX" sz="1200" dirty="0"/>
                        <a:t>3. Indebida apertura, modificación de condiciones o cierre de cuentas bancaria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endParaRPr lang="es-CO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dirty="0">
                          <a:solidFill>
                            <a:schemeClr val="tx1"/>
                          </a:solidFill>
                        </a:rPr>
                        <a:t>4. Circularización anual con bancos por parte de la Revisoría Fiscal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1000486"/>
                  </a:ext>
                </a:extLst>
              </a:tr>
              <a:tr h="482360">
                <a:tc>
                  <a:txBody>
                    <a:bodyPr/>
                    <a:lstStyle/>
                    <a:p>
                      <a:r>
                        <a:rPr lang="es-MX" sz="1200" dirty="0"/>
                        <a:t>4</a:t>
                      </a:r>
                      <a:r>
                        <a:rPr lang="es-MX" sz="1200" dirty="0">
                          <a:solidFill>
                            <a:schemeClr val="tx1"/>
                          </a:solidFill>
                        </a:rPr>
                        <a:t>. Creación y/o modificación de la base de datos de un proveedor o acreedor sin el cumplimiento del proceso</a:t>
                      </a:r>
                      <a:endParaRPr lang="es-MX" sz="1200" dirty="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indent="-228600" algn="just">
                        <a:buAutoNum type="arabicPeriod"/>
                      </a:pPr>
                      <a:endParaRPr lang="es-C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1200" dirty="0"/>
                        <a:t>5. </a:t>
                      </a:r>
                      <a:r>
                        <a:rPr lang="es-MX" sz="1200" dirty="0">
                          <a:solidFill>
                            <a:schemeClr val="tx1"/>
                          </a:solidFill>
                        </a:rPr>
                        <a:t>Cumplimiento del procedimiento de creación de proveedor o acreedor</a:t>
                      </a:r>
                      <a:endParaRPr lang="es-MX" sz="1200" strike="sngStrike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527863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070814" y="2019061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031077" y="4875469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9751040" y="4959044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8759159" y="4875469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8475238" y="4969037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232100" y="1570706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6433610" y="3193922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cxnSp>
        <p:nvCxnSpPr>
          <p:cNvPr id="214" name="111 Conector recto de flecha">
            <a:extLst>
              <a:ext uri="{FF2B5EF4-FFF2-40B4-BE49-F238E27FC236}">
                <a16:creationId xmlns:a16="http://schemas.microsoft.com/office/drawing/2014/main" id="{6FD6B10D-347C-444D-826E-0CCAED2CE163}"/>
              </a:ext>
            </a:extLst>
          </p:cNvPr>
          <p:cNvCxnSpPr>
            <a:cxnSpLocks/>
            <a:endCxn id="216" idx="7"/>
          </p:cNvCxnSpPr>
          <p:nvPr/>
        </p:nvCxnSpPr>
        <p:spPr>
          <a:xfrm flipH="1">
            <a:off x="9193612" y="4018087"/>
            <a:ext cx="944680" cy="489195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46" name="Oval 48">
            <a:extLst>
              <a:ext uri="{FF2B5EF4-FFF2-40B4-BE49-F238E27FC236}">
                <a16:creationId xmlns:a16="http://schemas.microsoft.com/office/drawing/2014/main" id="{4CC88A3F-EAC8-47F7-8350-F294DAB384EE}"/>
              </a:ext>
            </a:extLst>
          </p:cNvPr>
          <p:cNvSpPr/>
          <p:nvPr/>
        </p:nvSpPr>
        <p:spPr>
          <a:xfrm>
            <a:off x="10031077" y="3892137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2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17" name="Oval 48">
            <a:extLst>
              <a:ext uri="{FF2B5EF4-FFF2-40B4-BE49-F238E27FC236}">
                <a16:creationId xmlns:a16="http://schemas.microsoft.com/office/drawing/2014/main" id="{B3A194AA-DCC0-4D69-AE93-78D130C235A7}"/>
              </a:ext>
            </a:extLst>
          </p:cNvPr>
          <p:cNvSpPr/>
          <p:nvPr/>
        </p:nvSpPr>
        <p:spPr>
          <a:xfrm>
            <a:off x="10031077" y="3899396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2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graphicFrame>
        <p:nvGraphicFramePr>
          <p:cNvPr id="48" name="Tabla 47">
            <a:extLst>
              <a:ext uri="{FF2B5EF4-FFF2-40B4-BE49-F238E27FC236}">
                <a16:creationId xmlns:a16="http://schemas.microsoft.com/office/drawing/2014/main" id="{B7B34651-D0E2-4702-ABE7-533DC4D7D980}"/>
              </a:ext>
            </a:extLst>
          </p:cNvPr>
          <p:cNvGraphicFramePr>
            <a:graphicFrameLocks noGrp="1"/>
          </p:cNvGraphicFramePr>
          <p:nvPr/>
        </p:nvGraphicFramePr>
        <p:xfrm>
          <a:off x="7115247" y="5495417"/>
          <a:ext cx="4875348" cy="79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1685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393663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355901"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ómic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cepresidente Financiero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sp>
        <p:nvSpPr>
          <p:cNvPr id="216" name="Oval 77">
            <a:extLst>
              <a:ext uri="{FF2B5EF4-FFF2-40B4-BE49-F238E27FC236}">
                <a16:creationId xmlns:a16="http://schemas.microsoft.com/office/drawing/2014/main" id="{CC8F7DE7-0DA0-469C-A86E-4CCADDC795EF}"/>
              </a:ext>
            </a:extLst>
          </p:cNvPr>
          <p:cNvSpPr/>
          <p:nvPr/>
        </p:nvSpPr>
        <p:spPr>
          <a:xfrm>
            <a:off x="8978602" y="4470392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2DA1DB"/>
                </a:solidFill>
                <a:latin typeface="Arial"/>
              </a:rPr>
              <a:t>2</a:t>
            </a:r>
            <a:endParaRPr lang="es-ES" sz="1200" b="1" kern="0" dirty="0">
              <a:solidFill>
                <a:srgbClr val="2DA1DB"/>
              </a:solidFill>
              <a:latin typeface="Arial"/>
            </a:endParaRPr>
          </a:p>
        </p:txBody>
      </p:sp>
      <p:sp>
        <p:nvSpPr>
          <p:cNvPr id="44" name="Título 1">
            <a:extLst>
              <a:ext uri="{FF2B5EF4-FFF2-40B4-BE49-F238E27FC236}">
                <a16:creationId xmlns:a16="http://schemas.microsoft.com/office/drawing/2014/main" id="{8BA11D99-7EC2-4171-AC06-5B65682EF6D5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2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747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7037E-7 L -0.08463 0.08588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32" y="42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2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6">
            <a:extLst>
              <a:ext uri="{FF2B5EF4-FFF2-40B4-BE49-F238E27FC236}">
                <a16:creationId xmlns:a16="http://schemas.microsoft.com/office/drawing/2014/main" id="{A88CEA8D-0C64-0E45-870B-51E0151186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2" b="9960"/>
          <a:stretch/>
        </p:blipFill>
        <p:spPr>
          <a:xfrm>
            <a:off x="-1" y="-19067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45955"/>
          <a:stretch/>
        </p:blipFill>
        <p:spPr>
          <a:xfrm rot="16200000">
            <a:off x="-726561" y="4548682"/>
            <a:ext cx="3042756" cy="1589631"/>
          </a:xfrm>
          <a:prstGeom prst="rect">
            <a:avLst/>
          </a:prstGeom>
        </p:spPr>
      </p:pic>
      <p:sp>
        <p:nvSpPr>
          <p:cNvPr id="13" name="Elipse 25">
            <a:extLst>
              <a:ext uri="{FF2B5EF4-FFF2-40B4-BE49-F238E27FC236}">
                <a16:creationId xmlns:a16="http://schemas.microsoft.com/office/drawing/2014/main" id="{020E950E-786F-824D-B557-CA1927B2896C}"/>
              </a:ext>
            </a:extLst>
          </p:cNvPr>
          <p:cNvSpPr/>
          <p:nvPr/>
        </p:nvSpPr>
        <p:spPr>
          <a:xfrm flipV="1">
            <a:off x="794817" y="539620"/>
            <a:ext cx="1208579" cy="1162720"/>
          </a:xfrm>
          <a:prstGeom prst="ellipse">
            <a:avLst/>
          </a:prstGeom>
          <a:solidFill>
            <a:srgbClr val="2AA9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8" name="Elipse 9">
            <a:extLst>
              <a:ext uri="{FF2B5EF4-FFF2-40B4-BE49-F238E27FC236}">
                <a16:creationId xmlns:a16="http://schemas.microsoft.com/office/drawing/2014/main" id="{A21884BD-E348-7447-8F2A-C29F9A821196}"/>
              </a:ext>
            </a:extLst>
          </p:cNvPr>
          <p:cNvSpPr/>
          <p:nvPr/>
        </p:nvSpPr>
        <p:spPr>
          <a:xfrm>
            <a:off x="1688442" y="1400783"/>
            <a:ext cx="314954" cy="301557"/>
          </a:xfrm>
          <a:prstGeom prst="ellipse">
            <a:avLst/>
          </a:prstGeom>
          <a:solidFill>
            <a:srgbClr val="2376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1211" y="5901449"/>
            <a:ext cx="2183892" cy="893491"/>
          </a:xfrm>
          <a:prstGeom prst="rect">
            <a:avLst/>
          </a:prstGeom>
        </p:spPr>
      </p:pic>
      <p:sp>
        <p:nvSpPr>
          <p:cNvPr id="14" name="Elipse 21">
            <a:extLst>
              <a:ext uri="{FF2B5EF4-FFF2-40B4-BE49-F238E27FC236}">
                <a16:creationId xmlns:a16="http://schemas.microsoft.com/office/drawing/2014/main" id="{822B0562-658C-9F44-AB05-FF355D43A064}"/>
              </a:ext>
            </a:extLst>
          </p:cNvPr>
          <p:cNvSpPr/>
          <p:nvPr/>
        </p:nvSpPr>
        <p:spPr>
          <a:xfrm>
            <a:off x="5703572" y="1854740"/>
            <a:ext cx="3594982" cy="3558266"/>
          </a:xfrm>
          <a:prstGeom prst="ellipse">
            <a:avLst/>
          </a:prstGeom>
          <a:solidFill>
            <a:srgbClr val="01A3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50" dirty="0"/>
          </a:p>
        </p:txBody>
      </p:sp>
      <p:sp>
        <p:nvSpPr>
          <p:cNvPr id="20" name="Rectángulo 22">
            <a:extLst>
              <a:ext uri="{FF2B5EF4-FFF2-40B4-BE49-F238E27FC236}">
                <a16:creationId xmlns:a16="http://schemas.microsoft.com/office/drawing/2014/main" id="{E9FE30D3-AFCA-D345-A256-D2D8139FDFDD}"/>
              </a:ext>
            </a:extLst>
          </p:cNvPr>
          <p:cNvSpPr/>
          <p:nvPr/>
        </p:nvSpPr>
        <p:spPr>
          <a:xfrm>
            <a:off x="6237027" y="3983417"/>
            <a:ext cx="5954973" cy="97227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1" name="CuadroTexto 19">
            <a:extLst>
              <a:ext uri="{FF2B5EF4-FFF2-40B4-BE49-F238E27FC236}">
                <a16:creationId xmlns:a16="http://schemas.microsoft.com/office/drawing/2014/main" id="{ABA69903-B546-F74F-B854-0B28C05D2B42}"/>
              </a:ext>
            </a:extLst>
          </p:cNvPr>
          <p:cNvSpPr txBox="1"/>
          <p:nvPr/>
        </p:nvSpPr>
        <p:spPr>
          <a:xfrm>
            <a:off x="6237027" y="3173703"/>
            <a:ext cx="54863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400" b="1" dirty="0">
                <a:solidFill>
                  <a:schemeClr val="bg1"/>
                </a:solidFill>
                <a:latin typeface="Fira Sans ExtraBold" charset="0"/>
              </a:rPr>
              <a:t>Procesos</a:t>
            </a:r>
            <a:endParaRPr lang="es-CO" sz="5400" b="1" dirty="0">
              <a:solidFill>
                <a:schemeClr val="bg1"/>
              </a:solidFill>
              <a:latin typeface="Gotham Bold" panose="02000604040000020004" pitchFamily="2" charset="0"/>
            </a:endParaRPr>
          </a:p>
          <a:p>
            <a:r>
              <a:rPr lang="es-CO" sz="5400" b="1" dirty="0">
                <a:solidFill>
                  <a:schemeClr val="bg1"/>
                </a:solidFill>
                <a:latin typeface="Fira Sans Light" charset="0"/>
                <a:ea typeface="Fira Sans Light" charset="0"/>
                <a:cs typeface="Fira Sans Light" charset="0"/>
              </a:rPr>
              <a:t>Cadena de Valor</a:t>
            </a:r>
          </a:p>
        </p:txBody>
      </p:sp>
      <p:pic>
        <p:nvPicPr>
          <p:cNvPr id="22" name="Imagen 16">
            <a:extLst>
              <a:ext uri="{FF2B5EF4-FFF2-40B4-BE49-F238E27FC236}">
                <a16:creationId xmlns:a16="http://schemas.microsoft.com/office/drawing/2014/main" id="{A6CAD92F-BADD-CE4E-A6C5-27B50B942F6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7871" b="21871"/>
          <a:stretch/>
        </p:blipFill>
        <p:spPr>
          <a:xfrm rot="5400000">
            <a:off x="9016070" y="-1783012"/>
            <a:ext cx="1112824" cy="46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5147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ítulo 1">
            <a:extLst>
              <a:ext uri="{FF2B5EF4-FFF2-40B4-BE49-F238E27FC236}">
                <a16:creationId xmlns:a16="http://schemas.microsoft.com/office/drawing/2014/main" id="{AF70844B-35D1-4583-BF1D-5C2288E3E48F}"/>
              </a:ext>
            </a:extLst>
          </p:cNvPr>
          <p:cNvSpPr txBox="1">
            <a:spLocks/>
          </p:cNvSpPr>
          <p:nvPr/>
        </p:nvSpPr>
        <p:spPr>
          <a:xfrm>
            <a:off x="476166" y="376225"/>
            <a:ext cx="10534719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Uso de dineros de las cajas menores para  actividades no </a:t>
            </a:r>
          </a:p>
          <a:p>
            <a:pPr algn="l"/>
            <a:r>
              <a:rPr lang="es-MX" altLang="es-CO" sz="25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propias de la labor. </a:t>
            </a:r>
            <a:endParaRPr lang="es-CO" altLang="es-CO" sz="25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  <p:pic>
        <p:nvPicPr>
          <p:cNvPr id="11" name="Imagen 26">
            <a:extLst>
              <a:ext uri="{FF2B5EF4-FFF2-40B4-BE49-F238E27FC236}">
                <a16:creationId xmlns:a16="http://schemas.microsoft.com/office/drawing/2014/main" id="{939E8BDD-F07E-9A4F-9553-20773D452135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77871" b="21871"/>
          <a:stretch/>
        </p:blipFill>
        <p:spPr>
          <a:xfrm rot="5400000">
            <a:off x="9987860" y="-1336184"/>
            <a:ext cx="835851" cy="3526571"/>
          </a:xfrm>
          <a:prstGeom prst="rect">
            <a:avLst/>
          </a:prstGeom>
        </p:spPr>
      </p:pic>
      <p:sp>
        <p:nvSpPr>
          <p:cNvPr id="119" name="object 21">
            <a:extLst>
              <a:ext uri="{FF2B5EF4-FFF2-40B4-BE49-F238E27FC236}">
                <a16:creationId xmlns:a16="http://schemas.microsoft.com/office/drawing/2014/main" id="{7D5B4D50-2273-4D2E-90DC-2C111EAA5737}"/>
              </a:ext>
            </a:extLst>
          </p:cNvPr>
          <p:cNvSpPr txBox="1"/>
          <p:nvPr/>
        </p:nvSpPr>
        <p:spPr>
          <a:xfrm>
            <a:off x="359575" y="630120"/>
            <a:ext cx="2204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30"/>
            <a:r>
              <a:rPr sz="2000" b="1" spc="7" dirty="0">
                <a:solidFill>
                  <a:srgbClr val="FFFFFF"/>
                </a:solidFill>
                <a:cs typeface="Arial"/>
              </a:rPr>
              <a:t>1</a:t>
            </a:r>
            <a:endParaRPr sz="2000" dirty="0">
              <a:cs typeface="Arial"/>
            </a:endParaRPr>
          </a:p>
        </p:txBody>
      </p:sp>
      <p:sp>
        <p:nvSpPr>
          <p:cNvPr id="125" name="Rectangle 12">
            <a:extLst>
              <a:ext uri="{FF2B5EF4-FFF2-40B4-BE49-F238E27FC236}">
                <a16:creationId xmlns:a16="http://schemas.microsoft.com/office/drawing/2014/main" id="{70E000E0-5FE5-42EA-A679-6C73BE14A782}"/>
              </a:ext>
            </a:extLst>
          </p:cNvPr>
          <p:cNvSpPr/>
          <p:nvPr/>
        </p:nvSpPr>
        <p:spPr>
          <a:xfrm>
            <a:off x="359575" y="1096562"/>
            <a:ext cx="10911166" cy="253916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tx1"/>
            </a:solidFill>
            <a:prstDash val="sysDot"/>
          </a:ln>
          <a:effectLst>
            <a:softEdge rad="12700"/>
          </a:effectLst>
        </p:spPr>
        <p:txBody>
          <a:bodyPr wrap="square" lIns="68580" tIns="34290" rIns="68580" bIns="3429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s-MX" sz="1200" b="1" i="1" kern="0" dirty="0">
                <a:solidFill>
                  <a:srgbClr val="1F497D"/>
                </a:solidFill>
              </a:rPr>
              <a:t>Dar uso inapropiado a los dineros asignados a la caja mejor con el fin de obtener un beneficio propio o de un tercero </a:t>
            </a:r>
            <a:endParaRPr lang="es-CO" sz="1200" b="1" i="1" kern="0" dirty="0">
              <a:solidFill>
                <a:srgbClr val="1F497D"/>
              </a:solidFill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4305D2-1B11-46BA-AD9D-9C13417FE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362525"/>
              </p:ext>
            </p:extLst>
          </p:nvPr>
        </p:nvGraphicFramePr>
        <p:xfrm>
          <a:off x="366604" y="1670523"/>
          <a:ext cx="7426020" cy="32004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475340">
                  <a:extLst>
                    <a:ext uri="{9D8B030D-6E8A-4147-A177-3AD203B41FA5}">
                      <a16:colId xmlns:a16="http://schemas.microsoft.com/office/drawing/2014/main" val="3662974534"/>
                    </a:ext>
                  </a:extLst>
                </a:gridCol>
                <a:gridCol w="2475340">
                  <a:extLst>
                    <a:ext uri="{9D8B030D-6E8A-4147-A177-3AD203B41FA5}">
                      <a16:colId xmlns:a16="http://schemas.microsoft.com/office/drawing/2014/main" val="1960833686"/>
                    </a:ext>
                  </a:extLst>
                </a:gridCol>
                <a:gridCol w="2475340">
                  <a:extLst>
                    <a:ext uri="{9D8B030D-6E8A-4147-A177-3AD203B41FA5}">
                      <a16:colId xmlns:a16="http://schemas.microsoft.com/office/drawing/2014/main" val="1882943569"/>
                    </a:ext>
                  </a:extLst>
                </a:gridCol>
              </a:tblGrid>
              <a:tr h="190151"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AUS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SECUENCIA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dirty="0"/>
                        <a:t>CONTROLES</a:t>
                      </a:r>
                      <a:endParaRPr lang="es-CO" sz="15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815366"/>
                  </a:ext>
                </a:extLst>
              </a:tr>
              <a:tr h="380303">
                <a:tc>
                  <a:txBody>
                    <a:bodyPr/>
                    <a:lstStyle/>
                    <a:p>
                      <a:r>
                        <a:rPr lang="es-MX" sz="1200" dirty="0"/>
                        <a:t>1.Desconcimiento de los lineamientos del manejo de recursos de caja menor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érdidas económicas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Favorecimiento propio  o a un tercero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Posibles Hallazgos administrativo y fiscales.</a:t>
                      </a:r>
                      <a:endParaRPr lang="es-C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s-MX" sz="1200" dirty="0"/>
                        <a:t>Arqueos por parte de la Gerencia de Auditoria a las cajas menores de la empresa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921057"/>
                  </a:ext>
                </a:extLst>
              </a:tr>
              <a:tr h="380303">
                <a:tc rowSpan="2">
                  <a:txBody>
                    <a:bodyPr/>
                    <a:lstStyle/>
                    <a:p>
                      <a:r>
                        <a:rPr lang="es-MX" sz="1200" dirty="0"/>
                        <a:t>2. Falsificación de firmas y soportes/ Suplantación de identidad/fraccionamiento del objeto contractual en varias factura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z="1200" dirty="0"/>
                        <a:t>2. Verificación de cumplimiento del procedimiento y directriz de pago de caja menor.</a:t>
                      </a:r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8269321"/>
                  </a:ext>
                </a:extLst>
              </a:tr>
              <a:tr h="35313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dirty="0"/>
                        <a:t>3. Campañas de sensibilización en temas de ética y transparencia. </a:t>
                      </a:r>
                    </a:p>
                    <a:p>
                      <a:endParaRPr lang="es-MX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652831"/>
                  </a:ext>
                </a:extLst>
              </a:tr>
              <a:tr h="488961">
                <a:tc>
                  <a:txBody>
                    <a:bodyPr/>
                    <a:lstStyle/>
                    <a:p>
                      <a:r>
                        <a:rPr lang="es-MX" sz="1200" dirty="0"/>
                        <a:t>3. Apropiación de recursos de caja menor para gastos personales o de un tercer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dirty="0"/>
                        <a:t>4. Divulgar periódicamente  a los colaboradores los reglamentos de la caja menor y  actualización de aspectos tributarios y financiero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803636"/>
                  </a:ext>
                </a:extLst>
              </a:tr>
            </a:tbl>
          </a:graphicData>
        </a:graphic>
      </p:graphicFrame>
      <p:graphicFrame>
        <p:nvGraphicFramePr>
          <p:cNvPr id="129" name="79 Tabla">
            <a:extLst>
              <a:ext uri="{FF2B5EF4-FFF2-40B4-BE49-F238E27FC236}">
                <a16:creationId xmlns:a16="http://schemas.microsoft.com/office/drawing/2014/main" id="{D1434984-5E45-4C02-A044-004397980046}"/>
              </a:ext>
            </a:extLst>
          </p:cNvPr>
          <p:cNvGraphicFramePr>
            <a:graphicFrameLocks noGrp="1"/>
          </p:cNvGraphicFramePr>
          <p:nvPr/>
        </p:nvGraphicFramePr>
        <p:xfrm>
          <a:off x="8647963" y="1907811"/>
          <a:ext cx="2964214" cy="2819878"/>
        </p:xfrm>
        <a:graphic>
          <a:graphicData uri="http://schemas.openxmlformats.org/drawingml/2006/table">
            <a:tbl>
              <a:tblPr firstRow="1" bandRow="1"/>
              <a:tblGrid>
                <a:gridCol w="21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2423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1"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r>
                        <a:rPr lang="es-CO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1pPr>
                      <a:lvl2pPr marL="457200" marR="0" indent="457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2pPr>
                      <a:lvl3pPr marL="914400" marR="0" indent="914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3pPr>
                      <a:lvl4pPr marL="1371600" marR="0" indent="1371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4pPr>
                      <a:lvl5pPr marL="1828800" marR="0" indent="18288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5pPr>
                      <a:lvl6pPr marL="2286000" marR="0" indent="22860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6pPr>
                      <a:lvl7pPr marL="2743200" marR="0" indent="27432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7pPr>
                      <a:lvl8pPr marL="3200400" marR="0" indent="32004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8pPr>
                      <a:lvl9pPr marL="3657600" marR="0" indent="36576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 i="0" u="none" strike="noStrike" kern="1200" cap="none" spc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/>
                          <a:sym typeface="Arial Narrow"/>
                        </a:defRPr>
                      </a:lvl9pPr>
                    </a:lstStyle>
                    <a:p>
                      <a:pPr algn="ctr"/>
                      <a:endParaRPr lang="es-CO" sz="1000" dirty="0"/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0" name="77 CuadroTexto">
            <a:extLst>
              <a:ext uri="{FF2B5EF4-FFF2-40B4-BE49-F238E27FC236}">
                <a16:creationId xmlns:a16="http://schemas.microsoft.com/office/drawing/2014/main" id="{0BF24421-414F-4A4A-A7F4-4F20D27087E2}"/>
              </a:ext>
            </a:extLst>
          </p:cNvPr>
          <p:cNvSpPr txBox="1"/>
          <p:nvPr/>
        </p:nvSpPr>
        <p:spPr>
          <a:xfrm>
            <a:off x="10588573" y="4775810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Valoración de riesgo controlado</a:t>
            </a:r>
          </a:p>
        </p:txBody>
      </p:sp>
      <p:sp>
        <p:nvSpPr>
          <p:cNvPr id="131" name="Oval 16">
            <a:extLst>
              <a:ext uri="{FF2B5EF4-FFF2-40B4-BE49-F238E27FC236}">
                <a16:creationId xmlns:a16="http://schemas.microsoft.com/office/drawing/2014/main" id="{BD131B14-C7C4-4737-9D3E-D63094B274A3}"/>
              </a:ext>
            </a:extLst>
          </p:cNvPr>
          <p:cNvSpPr/>
          <p:nvPr/>
        </p:nvSpPr>
        <p:spPr>
          <a:xfrm>
            <a:off x="10308536" y="4779483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77 CuadroTexto">
            <a:extLst>
              <a:ext uri="{FF2B5EF4-FFF2-40B4-BE49-F238E27FC236}">
                <a16:creationId xmlns:a16="http://schemas.microsoft.com/office/drawing/2014/main" id="{26B6F96C-1FE6-4D7F-88BD-0FF5F14FF038}"/>
              </a:ext>
            </a:extLst>
          </p:cNvPr>
          <p:cNvSpPr txBox="1"/>
          <p:nvPr/>
        </p:nvSpPr>
        <p:spPr>
          <a:xfrm>
            <a:off x="9412827" y="4794651"/>
            <a:ext cx="924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Valoración de riesgo sin control</a:t>
            </a:r>
          </a:p>
        </p:txBody>
      </p:sp>
      <p:sp>
        <p:nvSpPr>
          <p:cNvPr id="133" name="Oval 16">
            <a:extLst>
              <a:ext uri="{FF2B5EF4-FFF2-40B4-BE49-F238E27FC236}">
                <a16:creationId xmlns:a16="http://schemas.microsoft.com/office/drawing/2014/main" id="{11DC6B42-7CB0-4FF6-9D20-1E30A59B2D7C}"/>
              </a:ext>
            </a:extLst>
          </p:cNvPr>
          <p:cNvSpPr/>
          <p:nvPr/>
        </p:nvSpPr>
        <p:spPr>
          <a:xfrm>
            <a:off x="9128906" y="4808317"/>
            <a:ext cx="182880" cy="18288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#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34" name="Group 64">
            <a:extLst>
              <a:ext uri="{FF2B5EF4-FFF2-40B4-BE49-F238E27FC236}">
                <a16:creationId xmlns:a16="http://schemas.microsoft.com/office/drawing/2014/main" id="{8007515E-7442-4B09-9042-09F4B6B9EDF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854953" y="1443097"/>
            <a:ext cx="2828247" cy="428005"/>
            <a:chOff x="5027777" y="356268"/>
            <a:chExt cx="3499014" cy="428005"/>
          </a:xfrm>
        </p:grpSpPr>
        <p:sp>
          <p:nvSpPr>
            <p:cNvPr id="135" name="Round Same Side Corner Rectangle 65">
              <a:extLst>
                <a:ext uri="{FF2B5EF4-FFF2-40B4-BE49-F238E27FC236}">
                  <a16:creationId xmlns:a16="http://schemas.microsoft.com/office/drawing/2014/main" id="{851476DC-23D2-4F69-98B0-EAD2C8F0F1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25 CuadroTexto">
              <a:extLst>
                <a:ext uri="{FF2B5EF4-FFF2-40B4-BE49-F238E27FC236}">
                  <a16:creationId xmlns:a16="http://schemas.microsoft.com/office/drawing/2014/main" id="{A0C5C823-7F32-4A5D-BA6F-FE9F217DF316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027777" y="614205"/>
              <a:ext cx="6520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37" name="Round Same Side Corner Rectangle 67">
              <a:extLst>
                <a:ext uri="{FF2B5EF4-FFF2-40B4-BE49-F238E27FC236}">
                  <a16:creationId xmlns:a16="http://schemas.microsoft.com/office/drawing/2014/main" id="{917B58C6-B811-4CB8-A957-89174AE661C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25 CuadroTexto">
              <a:extLst>
                <a:ext uri="{FF2B5EF4-FFF2-40B4-BE49-F238E27FC236}">
                  <a16:creationId xmlns:a16="http://schemas.microsoft.com/office/drawing/2014/main" id="{61CFD719-C19C-489C-A392-F26BEBAC7C81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84408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39" name="Round Same Side Corner Rectangle 78">
              <a:extLst>
                <a:ext uri="{FF2B5EF4-FFF2-40B4-BE49-F238E27FC236}">
                  <a16:creationId xmlns:a16="http://schemas.microsoft.com/office/drawing/2014/main" id="{CE1D93E2-3DFA-4C56-889C-6875D01125B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25 CuadroTexto">
              <a:extLst>
                <a:ext uri="{FF2B5EF4-FFF2-40B4-BE49-F238E27FC236}">
                  <a16:creationId xmlns:a16="http://schemas.microsoft.com/office/drawing/2014/main" id="{688B789C-9253-432C-972E-9708910E005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52824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41" name="Round Same Side Corner Rectangle 80">
              <a:extLst>
                <a:ext uri="{FF2B5EF4-FFF2-40B4-BE49-F238E27FC236}">
                  <a16:creationId xmlns:a16="http://schemas.microsoft.com/office/drawing/2014/main" id="{E40C0A9D-CFB8-43AC-87CE-B500CDCAB33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25 CuadroTexto">
              <a:extLst>
                <a:ext uri="{FF2B5EF4-FFF2-40B4-BE49-F238E27FC236}">
                  <a16:creationId xmlns:a16="http://schemas.microsoft.com/office/drawing/2014/main" id="{3CA63329-57D7-4F7D-8475-EA36E8EDE657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1843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43" name="Round Same Side Corner Rectangle 82">
              <a:extLst>
                <a:ext uri="{FF2B5EF4-FFF2-40B4-BE49-F238E27FC236}">
                  <a16:creationId xmlns:a16="http://schemas.microsoft.com/office/drawing/2014/main" id="{3F0D9D27-2727-4809-8D7D-D724868885D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25 CuadroTexto">
              <a:extLst>
                <a:ext uri="{FF2B5EF4-FFF2-40B4-BE49-F238E27FC236}">
                  <a16:creationId xmlns:a16="http://schemas.microsoft.com/office/drawing/2014/main" id="{BB6D62B3-7252-4CBA-BAFB-5DAEE5E3B324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908615" y="614205"/>
              <a:ext cx="61817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45" name="Rectangle 96">
              <a:extLst>
                <a:ext uri="{FF2B5EF4-FFF2-40B4-BE49-F238E27FC236}">
                  <a16:creationId xmlns:a16="http://schemas.microsoft.com/office/drawing/2014/main" id="{FE56E624-7EEC-4E22-9F19-0B1258FB5B1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080427" y="356268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</a:t>
              </a:r>
              <a:endPara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6" name="Group 97">
            <a:extLst>
              <a:ext uri="{FF2B5EF4-FFF2-40B4-BE49-F238E27FC236}">
                <a16:creationId xmlns:a16="http://schemas.microsoft.com/office/drawing/2014/main" id="{9BB8F4BC-B8BE-405F-9FDE-61FFF085E9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16200000">
            <a:off x="7010759" y="3082672"/>
            <a:ext cx="2800340" cy="556755"/>
            <a:chOff x="1691680" y="384482"/>
            <a:chExt cx="3425890" cy="457183"/>
          </a:xfrm>
        </p:grpSpPr>
        <p:sp>
          <p:nvSpPr>
            <p:cNvPr id="147" name="Round Same Side Corner Rectangle 98">
              <a:extLst>
                <a:ext uri="{FF2B5EF4-FFF2-40B4-BE49-F238E27FC236}">
                  <a16:creationId xmlns:a16="http://schemas.microsoft.com/office/drawing/2014/main" id="{DFA42CA1-766C-4B5F-B63C-4D6E78E9711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25 CuadroTexto">
              <a:extLst>
                <a:ext uri="{FF2B5EF4-FFF2-40B4-BE49-F238E27FC236}">
                  <a16:creationId xmlns:a16="http://schemas.microsoft.com/office/drawing/2014/main" id="{048DB115-C1D1-460C-BFC1-F165A612F843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99287" y="614206"/>
              <a:ext cx="644457" cy="1137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bajo</a:t>
              </a:r>
            </a:p>
          </p:txBody>
        </p:sp>
        <p:sp>
          <p:nvSpPr>
            <p:cNvPr id="149" name="Round Same Side Corner Rectangle 100">
              <a:extLst>
                <a:ext uri="{FF2B5EF4-FFF2-40B4-BE49-F238E27FC236}">
                  <a16:creationId xmlns:a16="http://schemas.microsoft.com/office/drawing/2014/main" id="{F9287818-3E2E-48CE-94B4-CBB7D886C3F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25 CuadroTexto">
              <a:extLst>
                <a:ext uri="{FF2B5EF4-FFF2-40B4-BE49-F238E27FC236}">
                  <a16:creationId xmlns:a16="http://schemas.microsoft.com/office/drawing/2014/main" id="{0D35901E-AD38-426E-A111-5C7F02DAA75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69860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Bajo</a:t>
              </a:r>
            </a:p>
          </p:txBody>
        </p:sp>
        <p:sp>
          <p:nvSpPr>
            <p:cNvPr id="151" name="Round Same Side Corner Rectangle 102">
              <a:extLst>
                <a:ext uri="{FF2B5EF4-FFF2-40B4-BE49-F238E27FC236}">
                  <a16:creationId xmlns:a16="http://schemas.microsoft.com/office/drawing/2014/main" id="{1B61AA67-7EC1-49C8-8FF4-B1CC09EF303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25 CuadroTexto">
              <a:extLst>
                <a:ext uri="{FF2B5EF4-FFF2-40B4-BE49-F238E27FC236}">
                  <a16:creationId xmlns:a16="http://schemas.microsoft.com/office/drawing/2014/main" id="{520A59E7-31B2-4BB0-91DA-96CF0E079A0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154028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edio</a:t>
              </a:r>
            </a:p>
          </p:txBody>
        </p:sp>
        <p:sp>
          <p:nvSpPr>
            <p:cNvPr id="153" name="Round Same Side Corner Rectangle 104">
              <a:extLst>
                <a:ext uri="{FF2B5EF4-FFF2-40B4-BE49-F238E27FC236}">
                  <a16:creationId xmlns:a16="http://schemas.microsoft.com/office/drawing/2014/main" id="{3DB84DCD-E5BB-4A40-A0E2-B5481FC292E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25 CuadroTexto">
              <a:extLst>
                <a:ext uri="{FF2B5EF4-FFF2-40B4-BE49-F238E27FC236}">
                  <a16:creationId xmlns:a16="http://schemas.microsoft.com/office/drawing/2014/main" id="{649C0D5F-7042-432E-A23D-4E6A28F3E5A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844212" y="614205"/>
              <a:ext cx="53024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Alto</a:t>
              </a:r>
            </a:p>
          </p:txBody>
        </p:sp>
        <p:sp>
          <p:nvSpPr>
            <p:cNvPr id="155" name="Round Same Side Corner Rectangle 106">
              <a:extLst>
                <a:ext uri="{FF2B5EF4-FFF2-40B4-BE49-F238E27FC236}">
                  <a16:creationId xmlns:a16="http://schemas.microsoft.com/office/drawing/2014/main" id="{EB46FB4E-753A-4519-B8E6-232D2E33633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25 CuadroTexto">
              <a:extLst>
                <a:ext uri="{FF2B5EF4-FFF2-40B4-BE49-F238E27FC236}">
                  <a16:creationId xmlns:a16="http://schemas.microsoft.com/office/drawing/2014/main" id="{E527FC7D-28DE-4253-8EBD-10283D6F1888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534396" y="614205"/>
              <a:ext cx="530249" cy="227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  <a:cs typeface="+mn-cs"/>
                </a:rPr>
                <a:t>Muy alto</a:t>
              </a:r>
            </a:p>
          </p:txBody>
        </p:sp>
        <p:sp>
          <p:nvSpPr>
            <p:cNvPr id="157" name="Rectangle 108">
              <a:extLst>
                <a:ext uri="{FF2B5EF4-FFF2-40B4-BE49-F238E27FC236}">
                  <a16:creationId xmlns:a16="http://schemas.microsoft.com/office/drawing/2014/main" id="{2BCE0A3C-CD3A-4F2E-BA60-E907384888D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dad</a:t>
              </a:r>
            </a:p>
          </p:txBody>
        </p:sp>
      </p:grpSp>
      <p:sp>
        <p:nvSpPr>
          <p:cNvPr id="112" name="bk object 16">
            <a:extLst>
              <a:ext uri="{FF2B5EF4-FFF2-40B4-BE49-F238E27FC236}">
                <a16:creationId xmlns:a16="http://schemas.microsoft.com/office/drawing/2014/main" id="{EDFE7433-A046-4C5B-8B14-ABDA5E7C103F}"/>
              </a:ext>
            </a:extLst>
          </p:cNvPr>
          <p:cNvSpPr/>
          <p:nvPr/>
        </p:nvSpPr>
        <p:spPr>
          <a:xfrm>
            <a:off x="223060" y="243613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3" name="bk object 17">
            <a:extLst>
              <a:ext uri="{FF2B5EF4-FFF2-40B4-BE49-F238E27FC236}">
                <a16:creationId xmlns:a16="http://schemas.microsoft.com/office/drawing/2014/main" id="{261471C2-D404-4B10-AC82-D7CE8E9922AA}"/>
              </a:ext>
            </a:extLst>
          </p:cNvPr>
          <p:cNvSpPr/>
          <p:nvPr/>
        </p:nvSpPr>
        <p:spPr>
          <a:xfrm>
            <a:off x="113498" y="213712"/>
            <a:ext cx="143544" cy="258563"/>
          </a:xfrm>
          <a:custGeom>
            <a:avLst/>
            <a:gdLst/>
            <a:ahLst/>
            <a:cxnLst/>
            <a:rect l="l" t="t" r="r" b="b"/>
            <a:pathLst>
              <a:path w="269875" h="440689">
                <a:moveTo>
                  <a:pt x="52845" y="0"/>
                </a:moveTo>
                <a:lnTo>
                  <a:pt x="13002" y="14700"/>
                </a:lnTo>
                <a:lnTo>
                  <a:pt x="283" y="43149"/>
                </a:lnTo>
                <a:lnTo>
                  <a:pt x="616" y="57864"/>
                </a:lnTo>
                <a:lnTo>
                  <a:pt x="5798" y="71783"/>
                </a:lnTo>
                <a:lnTo>
                  <a:pt x="15799" y="84683"/>
                </a:lnTo>
                <a:lnTo>
                  <a:pt x="151321" y="219176"/>
                </a:lnTo>
                <a:lnTo>
                  <a:pt x="17120" y="353313"/>
                </a:lnTo>
                <a:lnTo>
                  <a:pt x="4607" y="371118"/>
                </a:lnTo>
                <a:lnTo>
                  <a:pt x="0" y="390023"/>
                </a:lnTo>
                <a:lnTo>
                  <a:pt x="3198" y="408454"/>
                </a:lnTo>
                <a:lnTo>
                  <a:pt x="14110" y="424865"/>
                </a:lnTo>
                <a:lnTo>
                  <a:pt x="30778" y="436614"/>
                </a:lnTo>
                <a:lnTo>
                  <a:pt x="48954" y="440388"/>
                </a:lnTo>
                <a:lnTo>
                  <a:pt x="67533" y="436013"/>
                </a:lnTo>
                <a:lnTo>
                  <a:pt x="119076" y="390018"/>
                </a:lnTo>
                <a:lnTo>
                  <a:pt x="219508" y="289589"/>
                </a:lnTo>
                <a:lnTo>
                  <a:pt x="252806" y="255930"/>
                </a:lnTo>
                <a:lnTo>
                  <a:pt x="269880" y="220103"/>
                </a:lnTo>
                <a:lnTo>
                  <a:pt x="266071" y="201873"/>
                </a:lnTo>
                <a:lnTo>
                  <a:pt x="186001" y="115908"/>
                </a:lnTo>
                <a:lnTo>
                  <a:pt x="117514" y="47888"/>
                </a:lnTo>
                <a:lnTo>
                  <a:pt x="83058" y="14096"/>
                </a:lnTo>
                <a:lnTo>
                  <a:pt x="60979" y="1777"/>
                </a:lnTo>
                <a:lnTo>
                  <a:pt x="52845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14" name="bk object 16">
            <a:extLst>
              <a:ext uri="{FF2B5EF4-FFF2-40B4-BE49-F238E27FC236}">
                <a16:creationId xmlns:a16="http://schemas.microsoft.com/office/drawing/2014/main" id="{E982C67C-2879-438B-89D0-08A1E4586063}"/>
              </a:ext>
            </a:extLst>
          </p:cNvPr>
          <p:cNvSpPr/>
          <p:nvPr/>
        </p:nvSpPr>
        <p:spPr>
          <a:xfrm>
            <a:off x="332622" y="243613"/>
            <a:ext cx="143544" cy="204714"/>
          </a:xfrm>
          <a:custGeom>
            <a:avLst/>
            <a:gdLst/>
            <a:ahLst/>
            <a:cxnLst/>
            <a:rect l="l" t="t" r="r" b="b"/>
            <a:pathLst>
              <a:path w="185420" h="302260">
                <a:moveTo>
                  <a:pt x="36260" y="0"/>
                </a:moveTo>
                <a:lnTo>
                  <a:pt x="197" y="29611"/>
                </a:lnTo>
                <a:lnTo>
                  <a:pt x="428" y="39704"/>
                </a:lnTo>
                <a:lnTo>
                  <a:pt x="3986" y="49253"/>
                </a:lnTo>
                <a:lnTo>
                  <a:pt x="10847" y="58102"/>
                </a:lnTo>
                <a:lnTo>
                  <a:pt x="103811" y="150367"/>
                </a:lnTo>
                <a:lnTo>
                  <a:pt x="11749" y="242379"/>
                </a:lnTo>
                <a:lnTo>
                  <a:pt x="3160" y="254599"/>
                </a:lnTo>
                <a:lnTo>
                  <a:pt x="0" y="267571"/>
                </a:lnTo>
                <a:lnTo>
                  <a:pt x="2199" y="280221"/>
                </a:lnTo>
                <a:lnTo>
                  <a:pt x="9691" y="291477"/>
                </a:lnTo>
                <a:lnTo>
                  <a:pt x="21121" y="299535"/>
                </a:lnTo>
                <a:lnTo>
                  <a:pt x="33588" y="302121"/>
                </a:lnTo>
                <a:lnTo>
                  <a:pt x="46333" y="299119"/>
                </a:lnTo>
                <a:lnTo>
                  <a:pt x="116216" y="233194"/>
                </a:lnTo>
                <a:lnTo>
                  <a:pt x="173432" y="175577"/>
                </a:lnTo>
                <a:lnTo>
                  <a:pt x="185148" y="151002"/>
                </a:lnTo>
                <a:lnTo>
                  <a:pt x="182537" y="138497"/>
                </a:lnTo>
                <a:lnTo>
                  <a:pt x="145122" y="97127"/>
                </a:lnTo>
                <a:lnTo>
                  <a:pt x="115895" y="67824"/>
                </a:lnTo>
                <a:lnTo>
                  <a:pt x="86515" y="38673"/>
                </a:lnTo>
                <a:lnTo>
                  <a:pt x="51779" y="4584"/>
                </a:lnTo>
                <a:lnTo>
                  <a:pt x="43537" y="1015"/>
                </a:lnTo>
                <a:lnTo>
                  <a:pt x="36260" y="0"/>
                </a:lnTo>
                <a:close/>
              </a:path>
            </a:pathLst>
          </a:custGeom>
          <a:solidFill>
            <a:srgbClr val="A6CE39"/>
          </a:solidFill>
        </p:spPr>
        <p:txBody>
          <a:bodyPr wrap="square" lIns="0" tIns="0" rIns="0" bIns="0" rtlCol="0"/>
          <a:lstStyle/>
          <a:p>
            <a:endParaRPr sz="2000" dirty="0"/>
          </a:p>
        </p:txBody>
      </p:sp>
      <p:graphicFrame>
        <p:nvGraphicFramePr>
          <p:cNvPr id="43" name="Tabla 42">
            <a:extLst>
              <a:ext uri="{FF2B5EF4-FFF2-40B4-BE49-F238E27FC236}">
                <a16:creationId xmlns:a16="http://schemas.microsoft.com/office/drawing/2014/main" id="{81F8C7E4-B641-4D5E-ABFE-5BCF83B7DB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728056"/>
              </p:ext>
            </p:extLst>
          </p:nvPr>
        </p:nvGraphicFramePr>
        <p:xfrm>
          <a:off x="6394887" y="5441904"/>
          <a:ext cx="5447190" cy="114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3595">
                  <a:extLst>
                    <a:ext uri="{9D8B030D-6E8A-4147-A177-3AD203B41FA5}">
                      <a16:colId xmlns:a16="http://schemas.microsoft.com/office/drawing/2014/main" val="1247979475"/>
                    </a:ext>
                  </a:extLst>
                </a:gridCol>
                <a:gridCol w="2723595">
                  <a:extLst>
                    <a:ext uri="{9D8B030D-6E8A-4147-A177-3AD203B41FA5}">
                      <a16:colId xmlns:a16="http://schemas.microsoft.com/office/drawing/2014/main" val="2445422548"/>
                    </a:ext>
                  </a:extLst>
                </a:gridCol>
              </a:tblGrid>
              <a:tr h="308114"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o de impacto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5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:</a:t>
                      </a:r>
                      <a:endParaRPr lang="es-CO" sz="1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36422"/>
                  </a:ext>
                </a:extLst>
              </a:tr>
              <a:tr h="772394">
                <a:tc>
                  <a:txBody>
                    <a:bodyPr/>
                    <a:lstStyle/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n y Reputación</a:t>
                      </a:r>
                    </a:p>
                    <a:p>
                      <a:r>
                        <a:rPr lang="es-MX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acto económico 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Dirección de Servicios Administrativo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Vicepresidencia de Operacion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Gerencia de Desarrollo Sostenible.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s-MX" sz="1200" dirty="0"/>
                        <a:t>Dirección de Tesorería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877702"/>
                  </a:ext>
                </a:extLst>
              </a:tr>
            </a:tbl>
          </a:graphicData>
        </a:graphic>
      </p:graphicFrame>
      <p:cxnSp>
        <p:nvCxnSpPr>
          <p:cNvPr id="44" name="111 Conector recto de flecha">
            <a:extLst>
              <a:ext uri="{FF2B5EF4-FFF2-40B4-BE49-F238E27FC236}">
                <a16:creationId xmlns:a16="http://schemas.microsoft.com/office/drawing/2014/main" id="{63565EF8-36BA-44F1-869F-2816E2C9793F}"/>
              </a:ext>
            </a:extLst>
          </p:cNvPr>
          <p:cNvCxnSpPr>
            <a:cxnSpLocks/>
            <a:stCxn id="45" idx="4"/>
            <a:endCxn id="46" idx="0"/>
          </p:cNvCxnSpPr>
          <p:nvPr/>
        </p:nvCxnSpPr>
        <p:spPr>
          <a:xfrm>
            <a:off x="9697892" y="3522623"/>
            <a:ext cx="0" cy="370362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45" name="Oval 48">
            <a:extLst>
              <a:ext uri="{FF2B5EF4-FFF2-40B4-BE49-F238E27FC236}">
                <a16:creationId xmlns:a16="http://schemas.microsoft.com/office/drawing/2014/main" id="{EC05691B-884B-4C89-86A8-F139F797682F}"/>
              </a:ext>
            </a:extLst>
          </p:cNvPr>
          <p:cNvSpPr/>
          <p:nvPr/>
        </p:nvSpPr>
        <p:spPr>
          <a:xfrm>
            <a:off x="9571942" y="327072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3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50" name="Oval 48">
            <a:extLst>
              <a:ext uri="{FF2B5EF4-FFF2-40B4-BE49-F238E27FC236}">
                <a16:creationId xmlns:a16="http://schemas.microsoft.com/office/drawing/2014/main" id="{41389E40-9507-47E9-A39E-7098C71F8988}"/>
              </a:ext>
            </a:extLst>
          </p:cNvPr>
          <p:cNvSpPr/>
          <p:nvPr/>
        </p:nvSpPr>
        <p:spPr>
          <a:xfrm>
            <a:off x="9571942" y="3270723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/>
              </a:rPr>
              <a:t>3</a:t>
            </a:r>
            <a:endParaRPr lang="es-ES" sz="1200" b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46" name="Oval 77">
            <a:extLst>
              <a:ext uri="{FF2B5EF4-FFF2-40B4-BE49-F238E27FC236}">
                <a16:creationId xmlns:a16="http://schemas.microsoft.com/office/drawing/2014/main" id="{0B6D3617-EA7C-4652-9C5D-D4ADF8554AFA}"/>
              </a:ext>
            </a:extLst>
          </p:cNvPr>
          <p:cNvSpPr/>
          <p:nvPr/>
        </p:nvSpPr>
        <p:spPr>
          <a:xfrm>
            <a:off x="9571942" y="3892985"/>
            <a:ext cx="251900" cy="251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1219050">
              <a:defRPr/>
            </a:pPr>
            <a:r>
              <a:rPr lang="es-ES" sz="1200" b="1" kern="0" dirty="0">
                <a:solidFill>
                  <a:srgbClr val="2DA1DB"/>
                </a:solidFill>
                <a:latin typeface="Arial"/>
              </a:rPr>
              <a:t>3</a:t>
            </a:r>
          </a:p>
        </p:txBody>
      </p:sp>
      <p:sp>
        <p:nvSpPr>
          <p:cNvPr id="47" name="Título 1">
            <a:extLst>
              <a:ext uri="{FF2B5EF4-FFF2-40B4-BE49-F238E27FC236}">
                <a16:creationId xmlns:a16="http://schemas.microsoft.com/office/drawing/2014/main" id="{665A5105-B10A-469C-B96B-58D17F673870}"/>
              </a:ext>
            </a:extLst>
          </p:cNvPr>
          <p:cNvSpPr txBox="1">
            <a:spLocks/>
          </p:cNvSpPr>
          <p:nvPr/>
        </p:nvSpPr>
        <p:spPr>
          <a:xfrm>
            <a:off x="123348" y="6298893"/>
            <a:ext cx="716117" cy="51381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altLang="es-CO" sz="2800" b="1" dirty="0">
                <a:solidFill>
                  <a:srgbClr val="1C77BC"/>
                </a:solidFill>
                <a:latin typeface="+mn-lt"/>
                <a:ea typeface="Fira Sans" panose="020B0403050000020004" pitchFamily="34" charset="0"/>
              </a:rPr>
              <a:t>R3</a:t>
            </a:r>
            <a:endParaRPr lang="es-CO" altLang="es-CO" sz="2800" b="1" dirty="0">
              <a:solidFill>
                <a:srgbClr val="1C77BC"/>
              </a:solidFill>
              <a:latin typeface="+mn-lt"/>
              <a:ea typeface="Fira Sans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2509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1.11111E-6 L -2.70833E-6 0.09375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4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49</TotalTime>
  <Words>4497</Words>
  <Application>Microsoft Office PowerPoint</Application>
  <PresentationFormat>Panorámica</PresentationFormat>
  <Paragraphs>1066</Paragraphs>
  <Slides>28</Slides>
  <Notes>21</Notes>
  <HiddenSlides>0</HiddenSlides>
  <MMClips>0</MMClips>
  <ScaleCrop>false</ScaleCrop>
  <HeadingPairs>
    <vt:vector size="6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38" baseType="lpstr">
      <vt:lpstr>Arial</vt:lpstr>
      <vt:lpstr>Calibri</vt:lpstr>
      <vt:lpstr>Calibri Light</vt:lpstr>
      <vt:lpstr>Fira Sans</vt:lpstr>
      <vt:lpstr>Fira Sans ExtraBold</vt:lpstr>
      <vt:lpstr>Fira Sans ExtraLight</vt:lpstr>
      <vt:lpstr>Fira Sans Light</vt:lpstr>
      <vt:lpstr>Gotham Bold</vt:lpstr>
      <vt:lpstr>Wingdings</vt:lpstr>
      <vt:lpstr>Tema de Office</vt:lpstr>
      <vt:lpstr>Matriz de Riesgos de Cumplimiento     *Versión aprobada Comité Ética y Cumplimiento sesión 22 diciembre 2021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den del Día</dc:title>
  <dc:creator>Angelica Cristina Mora Suarez</dc:creator>
  <cp:lastModifiedBy>Soleil Marcela Omana Pinzon</cp:lastModifiedBy>
  <cp:revision>16</cp:revision>
  <dcterms:created xsi:type="dcterms:W3CDTF">2019-12-16T12:22:12Z</dcterms:created>
  <dcterms:modified xsi:type="dcterms:W3CDTF">2022-03-29T21:59:28Z</dcterms:modified>
</cp:coreProperties>
</file>